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7"/>
  </p:notesMasterIdLst>
  <p:sldIdLst>
    <p:sldId id="455" r:id="rId2"/>
    <p:sldId id="515" r:id="rId3"/>
    <p:sldId id="516" r:id="rId4"/>
    <p:sldId id="528" r:id="rId5"/>
    <p:sldId id="489" r:id="rId6"/>
    <p:sldId id="491" r:id="rId7"/>
    <p:sldId id="492" r:id="rId8"/>
    <p:sldId id="494" r:id="rId9"/>
    <p:sldId id="493" r:id="rId10"/>
    <p:sldId id="530" r:id="rId11"/>
    <p:sldId id="495" r:id="rId12"/>
    <p:sldId id="496" r:id="rId13"/>
    <p:sldId id="502" r:id="rId14"/>
    <p:sldId id="501" r:id="rId15"/>
    <p:sldId id="503" r:id="rId16"/>
    <p:sldId id="504" r:id="rId17"/>
    <p:sldId id="510" r:id="rId18"/>
    <p:sldId id="512" r:id="rId19"/>
    <p:sldId id="511" r:id="rId20"/>
    <p:sldId id="513" r:id="rId21"/>
    <p:sldId id="514" r:id="rId22"/>
    <p:sldId id="531" r:id="rId23"/>
    <p:sldId id="532" r:id="rId24"/>
    <p:sldId id="533" r:id="rId25"/>
    <p:sldId id="534" r:id="rId26"/>
    <p:sldId id="535" r:id="rId27"/>
    <p:sldId id="536" r:id="rId28"/>
    <p:sldId id="537" r:id="rId29"/>
    <p:sldId id="538" r:id="rId30"/>
    <p:sldId id="539" r:id="rId31"/>
    <p:sldId id="540" r:id="rId32"/>
    <p:sldId id="541" r:id="rId33"/>
    <p:sldId id="542" r:id="rId34"/>
    <p:sldId id="543" r:id="rId35"/>
    <p:sldId id="544" r:id="rId36"/>
    <p:sldId id="545" r:id="rId37"/>
    <p:sldId id="546" r:id="rId38"/>
    <p:sldId id="558" r:id="rId39"/>
    <p:sldId id="559" r:id="rId40"/>
    <p:sldId id="560" r:id="rId41"/>
    <p:sldId id="561" r:id="rId42"/>
    <p:sldId id="562" r:id="rId43"/>
    <p:sldId id="563" r:id="rId44"/>
    <p:sldId id="564" r:id="rId45"/>
    <p:sldId id="565" r:id="rId46"/>
    <p:sldId id="566" r:id="rId47"/>
    <p:sldId id="567" r:id="rId48"/>
    <p:sldId id="568" r:id="rId49"/>
    <p:sldId id="569" r:id="rId50"/>
    <p:sldId id="570" r:id="rId51"/>
    <p:sldId id="571" r:id="rId52"/>
    <p:sldId id="572" r:id="rId53"/>
    <p:sldId id="573" r:id="rId54"/>
    <p:sldId id="518" r:id="rId55"/>
    <p:sldId id="520" r:id="rId56"/>
    <p:sldId id="521" r:id="rId57"/>
    <p:sldId id="522" r:id="rId58"/>
    <p:sldId id="523" r:id="rId59"/>
    <p:sldId id="524" r:id="rId60"/>
    <p:sldId id="525" r:id="rId61"/>
    <p:sldId id="526" r:id="rId62"/>
    <p:sldId id="574" r:id="rId63"/>
    <p:sldId id="575" r:id="rId64"/>
    <p:sldId id="577" r:id="rId65"/>
    <p:sldId id="576" r:id="rId6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5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9" clrIdx="0">
    <p:extLst/>
  </p:cmAuthor>
  <p:cmAuthor id="2" name="Leilas" initials="L" lastIdx="11" clrIdx="1">
    <p:extLst/>
  </p:cmAuthor>
  <p:cmAuthor id="3" name="Admin" initials="AAA" lastIdx="2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EBF4"/>
    <a:srgbClr val="F2F2F2"/>
    <a:srgbClr val="E9950D"/>
    <a:srgbClr val="D1E2F3"/>
    <a:srgbClr val="EFF5FB"/>
    <a:srgbClr val="79BFD5"/>
    <a:srgbClr val="9ED442"/>
    <a:srgbClr val="40A7E1"/>
    <a:srgbClr val="F5B144"/>
    <a:srgbClr val="F6DB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444" autoAdjust="0"/>
    <p:restoredTop sz="96408" autoAdjust="0"/>
  </p:normalViewPr>
  <p:slideViewPr>
    <p:cSldViewPr snapToGrid="0">
      <p:cViewPr varScale="1">
        <p:scale>
          <a:sx n="108" d="100"/>
          <a:sy n="108" d="100"/>
        </p:scale>
        <p:origin x="114" y="264"/>
      </p:cViewPr>
      <p:guideLst>
        <p:guide orient="horz" pos="415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commentAuthors" Target="commentAuthors.xml"/><Relationship Id="rId7" Type="http://schemas.openxmlformats.org/officeDocument/2006/relationships/slide" Target="slides/slide6.xml"/><Relationship Id="rId71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28.04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28.04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91217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1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34F1D5-33B3-480A-A4E8-311841A67364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04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7762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8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8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8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65181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8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8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8.04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8.04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8.04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8.04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8.04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8.04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28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shop.prosv.ru/funkcionalnaya-gramotnost-trenazhyor-matematika-na-kazhdyj-den-6-8-klassy" TargetMode="External"/><Relationship Id="rId4" Type="http://schemas.microsoft.com/office/2007/relationships/hdphoto" Target="../media/hdphoto2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5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0.png"/><Relationship Id="rId5" Type="http://schemas.openxmlformats.org/officeDocument/2006/relationships/image" Target="../media/image17.png"/><Relationship Id="rId4" Type="http://schemas.microsoft.com/office/2007/relationships/hdphoto" Target="../media/hdphoto3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microsoft.com/office/2007/relationships/hdphoto" Target="../media/hdphoto4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17.png"/><Relationship Id="rId7" Type="http://schemas.openxmlformats.org/officeDocument/2006/relationships/image" Target="../media/image5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png"/><Relationship Id="rId5" Type="http://schemas.microsoft.com/office/2007/relationships/hdphoto" Target="../media/hdphoto4.wdp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microsoft.com/office/2007/relationships/hdphoto" Target="../media/hdphoto4.wdp"/><Relationship Id="rId5" Type="http://schemas.openxmlformats.org/officeDocument/2006/relationships/image" Target="../media/image18.png"/><Relationship Id="rId4" Type="http://schemas.microsoft.com/office/2007/relationships/hdphoto" Target="../media/hdphoto3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microsoft.com/office/2007/relationships/hdphoto" Target="../media/hdphoto5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microsoft.com/office/2007/relationships/hdphoto" Target="../media/hdphoto7.wdp"/><Relationship Id="rId5" Type="http://schemas.openxmlformats.org/officeDocument/2006/relationships/image" Target="../media/image23.png"/><Relationship Id="rId4" Type="http://schemas.microsoft.com/office/2007/relationships/hdphoto" Target="../media/hdphoto6.wdp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microsoft.com/office/2007/relationships/hdphoto" Target="../media/hdphoto9.wdp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microsoft.com/office/2007/relationships/hdphoto" Target="../media/hdphoto8.wdp"/><Relationship Id="rId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microsoft.com/office/2007/relationships/hdphoto" Target="../media/hdphoto9.wdp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microsoft.com/office/2007/relationships/hdphoto" Target="../media/hdphoto8.wdp"/><Relationship Id="rId4" Type="http://schemas.openxmlformats.org/officeDocument/2006/relationships/image" Target="../media/image24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microsoft.com/office/2007/relationships/hdphoto" Target="../media/hdphoto9.wdp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microsoft.com/office/2007/relationships/hdphoto" Target="../media/hdphoto8.wdp"/><Relationship Id="rId4" Type="http://schemas.openxmlformats.org/officeDocument/2006/relationships/image" Target="../media/image24.png"/><Relationship Id="rId9" Type="http://schemas.openxmlformats.org/officeDocument/2006/relationships/image" Target="../media/image18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microsoft.com/office/2007/relationships/hdphoto" Target="../media/hdphoto9.wdp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microsoft.com/office/2007/relationships/hdphoto" Target="../media/hdphoto8.wdp"/><Relationship Id="rId4" Type="http://schemas.openxmlformats.org/officeDocument/2006/relationships/image" Target="../media/image24.png"/><Relationship Id="rId9" Type="http://schemas.openxmlformats.org/officeDocument/2006/relationships/image" Target="../media/image18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microsoft.com/office/2007/relationships/hdphoto" Target="../media/hdphoto8.wdp"/><Relationship Id="rId4" Type="http://schemas.openxmlformats.org/officeDocument/2006/relationships/image" Target="../media/image2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microsoft.com/office/2007/relationships/hdphoto" Target="../media/hdphoto8.wdp"/><Relationship Id="rId4" Type="http://schemas.openxmlformats.org/officeDocument/2006/relationships/image" Target="../media/image2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0.png"/><Relationship Id="rId5" Type="http://schemas.microsoft.com/office/2007/relationships/hdphoto" Target="../media/hdphoto8.wdp"/><Relationship Id="rId4" Type="http://schemas.openxmlformats.org/officeDocument/2006/relationships/image" Target="../media/image2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openxmlformats.org/officeDocument/2006/relationships/image" Target="../media/image200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0.png"/><Relationship Id="rId5" Type="http://schemas.microsoft.com/office/2007/relationships/hdphoto" Target="../media/hdphoto8.wdp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openxmlformats.org/officeDocument/2006/relationships/image" Target="../media/image200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0.png"/><Relationship Id="rId5" Type="http://schemas.microsoft.com/office/2007/relationships/hdphoto" Target="../media/hdphoto8.wdp"/><Relationship Id="rId4" Type="http://schemas.openxmlformats.org/officeDocument/2006/relationships/image" Target="../media/image2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microsoft.com/office/2007/relationships/hdphoto" Target="../media/hdphoto8.wdp"/><Relationship Id="rId4" Type="http://schemas.openxmlformats.org/officeDocument/2006/relationships/image" Target="../media/image2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0.png"/><Relationship Id="rId5" Type="http://schemas.microsoft.com/office/2007/relationships/hdphoto" Target="../media/hdphoto8.wdp"/><Relationship Id="rId4" Type="http://schemas.openxmlformats.org/officeDocument/2006/relationships/image" Target="../media/image2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0.png"/><Relationship Id="rId5" Type="http://schemas.microsoft.com/office/2007/relationships/hdphoto" Target="../media/hdphoto8.wdp"/><Relationship Id="rId4" Type="http://schemas.openxmlformats.org/officeDocument/2006/relationships/image" Target="../media/image2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openxmlformats.org/officeDocument/2006/relationships/image" Target="../media/image28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0.png"/><Relationship Id="rId5" Type="http://schemas.microsoft.com/office/2007/relationships/hdphoto" Target="../media/hdphoto8.wdp"/><Relationship Id="rId4" Type="http://schemas.openxmlformats.org/officeDocument/2006/relationships/image" Target="../media/image2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openxmlformats.org/officeDocument/2006/relationships/image" Target="../media/image29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0.png"/><Relationship Id="rId5" Type="http://schemas.microsoft.com/office/2007/relationships/hdphoto" Target="../media/hdphoto8.wdp"/><Relationship Id="rId4" Type="http://schemas.openxmlformats.org/officeDocument/2006/relationships/image" Target="../media/image2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openxmlformats.org/officeDocument/2006/relationships/image" Target="../media/image30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0.png"/><Relationship Id="rId5" Type="http://schemas.microsoft.com/office/2007/relationships/hdphoto" Target="../media/hdphoto8.wdp"/><Relationship Id="rId4" Type="http://schemas.openxmlformats.org/officeDocument/2006/relationships/image" Target="../media/image2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openxmlformats.org/officeDocument/2006/relationships/image" Target="../media/image3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0.png"/><Relationship Id="rId5" Type="http://schemas.microsoft.com/office/2007/relationships/hdphoto" Target="../media/hdphoto8.wdp"/><Relationship Id="rId4" Type="http://schemas.openxmlformats.org/officeDocument/2006/relationships/image" Target="../media/image24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microsoft.com/office/2007/relationships/hdphoto" Target="../media/hdphoto13.wdp"/><Relationship Id="rId18" Type="http://schemas.openxmlformats.org/officeDocument/2006/relationships/image" Target="../media/image40.png"/><Relationship Id="rId3" Type="http://schemas.openxmlformats.org/officeDocument/2006/relationships/image" Target="../media/image27.png"/><Relationship Id="rId21" Type="http://schemas.microsoft.com/office/2007/relationships/hdphoto" Target="../media/hdphoto17.wdp"/><Relationship Id="rId7" Type="http://schemas.microsoft.com/office/2007/relationships/hdphoto" Target="../media/hdphoto10.wdp"/><Relationship Id="rId12" Type="http://schemas.openxmlformats.org/officeDocument/2006/relationships/image" Target="../media/image37.png"/><Relationship Id="rId17" Type="http://schemas.microsoft.com/office/2007/relationships/hdphoto" Target="../media/hdphoto15.wdp"/><Relationship Id="rId2" Type="http://schemas.openxmlformats.org/officeDocument/2006/relationships/image" Target="../media/image3.emf"/><Relationship Id="rId16" Type="http://schemas.openxmlformats.org/officeDocument/2006/relationships/image" Target="../media/image39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4.png"/><Relationship Id="rId11" Type="http://schemas.microsoft.com/office/2007/relationships/hdphoto" Target="../media/hdphoto12.wdp"/><Relationship Id="rId5" Type="http://schemas.openxmlformats.org/officeDocument/2006/relationships/image" Target="../media/image33.png"/><Relationship Id="rId15" Type="http://schemas.microsoft.com/office/2007/relationships/hdphoto" Target="../media/hdphoto14.wdp"/><Relationship Id="rId10" Type="http://schemas.openxmlformats.org/officeDocument/2006/relationships/image" Target="../media/image36.png"/><Relationship Id="rId19" Type="http://schemas.microsoft.com/office/2007/relationships/hdphoto" Target="../media/hdphoto16.wdp"/><Relationship Id="rId4" Type="http://schemas.openxmlformats.org/officeDocument/2006/relationships/image" Target="../media/image32.png"/><Relationship Id="rId9" Type="http://schemas.microsoft.com/office/2007/relationships/hdphoto" Target="../media/hdphoto11.wdp"/><Relationship Id="rId14" Type="http://schemas.openxmlformats.org/officeDocument/2006/relationships/image" Target="../media/image38.png"/><Relationship Id="rId22" Type="http://schemas.openxmlformats.org/officeDocument/2006/relationships/hyperlink" Target="https://shop.prosv.ru/katalog#/orderby=5&amp;sFilters=4!2304,2302;6!85409,97649,85410,101486,85489;&amp;utm_source=uchitel-club&amp;utm_medium=article&amp;utm_campaign=maths-award" TargetMode="Externa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search?q=%D0%92%D0%B8%D0%BB%D0%B5%D0%BD%D0%BA%D0%B8%D0%BD#/orderby=5&amp;q=%D0%92%D0%B8%D0%BB%D0%B5%D0%BD%D0%BA%D0%B8%D0%BD&amp;sFilters=21!56334;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search?q=%D0%92%D0%B8%D0%BB%D0%B5%D0%BD%D0%BA%D0%B8%D0%BD#/orderby=5&amp;q=%D0%92%D0%B8%D0%BB%D0%B5%D0%BD%D0%BA%D0%B8%D0%BD&amp;sFilters=21!56334;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40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search?q=%D0%92%D0%B8%D0%BB%D0%B5%D0%BD%D0%BA%D0%B8%D0%BD#/orderby=5&amp;q=%D0%92%D0%B8%D0%BB%D0%B5%D0%BD%D0%BA%D0%B8%D0%BD&amp;sFilters=21!56334;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50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search?q=%D0%92%D0%B8%D0%BB%D0%B5%D0%BD%D0%BA%D0%B8%D0%BD#/orderby=5&amp;q=%D0%92%D0%B8%D0%BB%D0%B5%D0%BD%D0%BA%D0%B8%D0%BD&amp;sFilters=21!56334;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0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search?q=%D0%92%D0%B8%D0%BB%D0%B5%D0%BD%D0%BA%D0%B8%D0%BD#/orderby=5&amp;q=%D0%92%D0%B8%D0%BB%D0%B5%D0%BD%D0%BA%D0%B8%D0%BD&amp;sFilters=21!56334;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3.png"/><Relationship Id="rId5" Type="http://schemas.openxmlformats.org/officeDocument/2006/relationships/image" Target="../media/image370.png"/><Relationship Id="rId4" Type="http://schemas.openxmlformats.org/officeDocument/2006/relationships/image" Target="../media/image4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search?q=%D0%92%D0%B8%D0%BB%D0%B5%D0%BD%D0%BA%D0%B8%D0%BD#/orderby=5&amp;q=%D0%92%D0%B8%D0%BB%D0%B5%D0%BD%D0%BA%D0%B8%D0%BD&amp;sFilters=21!56334;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search?q=%D0%92%D0%B8%D0%BB%D0%B5%D0%BD%D0%BA%D0%B8%D0%BD#/orderby=5&amp;q=%D0%92%D0%B8%D0%BB%D0%B5%D0%BD%D0%BA%D0%B8%D0%BD&amp;sFilters=21!56334;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search?q=%D0%92%D0%B8%D0%BB%D0%B5%D0%BD%D0%BA%D0%B8%D0%BD#/orderby=5&amp;q=%D0%92%D0%B8%D0%BB%D0%B5%D0%BD%D0%BA%D0%B8%D0%BD&amp;sFilters=21!56334;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00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search?q=%D0%92%D0%B8%D0%BB%D0%B5%D0%BD%D0%BA%D0%B8%D0%BD#/orderby=5&amp;q=%D0%92%D0%B8%D0%BB%D0%B5%D0%BD%D0%BA%D0%B8%D0%BD&amp;sFilters=21!56334;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10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search?q=%D0%92%D0%B8%D0%BB%D0%B5%D0%BD%D0%BA%D0%B8%D0%BD#/orderby=5&amp;q=%D0%92%D0%B8%D0%BB%D0%B5%D0%BD%D0%BA%D0%B8%D0%BD&amp;sFilters=21!56334;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20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search?q=%D0%92%D0%B8%D0%BB%D0%B5%D0%BD%D0%BA%D0%B8%D0%BD#/orderby=5&amp;q=%D0%92%D0%B8%D0%BB%D0%B5%D0%BD%D0%BA%D0%B8%D0%BD&amp;sFilters=21!56334;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search?q=%D0%92%D0%B8%D0%BB%D0%B5%D0%BD%D0%BA%D0%B8%D0%BD#/orderby=5&amp;q=%D0%92%D0%B8%D0%BB%D0%B5%D0%BD%D0%BA%D0%B8%D0%BD&amp;sFilters=21!56334;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6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search?q=%D0%92%D0%B8%D0%BB%D0%B5%D0%BD%D0%BA%D0%B8%D0%BD#/orderby=5&amp;q=%D0%92%D0%B8%D0%BB%D0%B5%D0%BD%D0%BA%D0%B8%D0%BD&amp;sFilters=21!56334;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6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search?q=%D0%92%D0%B8%D0%BB%D0%B5%D0%BD%D0%BA%D0%B8%D0%BD#/orderby=5&amp;q=%D0%92%D0%B8%D0%BB%D0%B5%D0%BD%D0%BA%D0%B8%D0%BD&amp;sFilters=21!56334;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40.png"/><Relationship Id="rId4" Type="http://schemas.openxmlformats.org/officeDocument/2006/relationships/image" Target="../media/image46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search?q=%D0%92%D0%B8%D0%BB%D0%B5%D0%BD%D0%BA%D0%B8%D0%BD#/orderby=5&amp;q=%D0%92%D0%B8%D0%BB%D0%B5%D0%BD%D0%BA%D0%B8%D0%BD&amp;sFilters=21!56334;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50.png"/><Relationship Id="rId4" Type="http://schemas.openxmlformats.org/officeDocument/2006/relationships/image" Target="../media/image46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image" Target="../media/image47.png"/><Relationship Id="rId7" Type="http://schemas.openxmlformats.org/officeDocument/2006/relationships/image" Target="../media/image51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0.jpeg"/><Relationship Id="rId5" Type="http://schemas.openxmlformats.org/officeDocument/2006/relationships/image" Target="../media/image49.jpeg"/><Relationship Id="rId4" Type="http://schemas.openxmlformats.org/officeDocument/2006/relationships/image" Target="../media/image48.gi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6.png"/><Relationship Id="rId4" Type="http://schemas.openxmlformats.org/officeDocument/2006/relationships/hyperlink" Target="https://dev.media.prosv.ru/content/?situations=true&amp;klass=7" TargetMode="Externa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8.png"/><Relationship Id="rId4" Type="http://schemas.openxmlformats.org/officeDocument/2006/relationships/hyperlink" Target="https://dev.media.prosv.ru/content/?situations=true&amp;klass=7" TargetMode="Externa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microsoft.com/office/2007/relationships/hdphoto" Target="../media/hdphoto18.wdp"/><Relationship Id="rId5" Type="http://schemas.openxmlformats.org/officeDocument/2006/relationships/image" Target="../media/image59.png"/><Relationship Id="rId4" Type="http://schemas.openxmlformats.org/officeDocument/2006/relationships/hyperlink" Target="https://dev.media.prosv.ru/content/?situations=true&amp;klass=7" TargetMode="Externa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microsoft.com/office/2007/relationships/hdphoto" Target="../media/hdphoto19.wdp"/><Relationship Id="rId5" Type="http://schemas.openxmlformats.org/officeDocument/2006/relationships/image" Target="../media/image60.png"/><Relationship Id="rId4" Type="http://schemas.openxmlformats.org/officeDocument/2006/relationships/hyperlink" Target="https://dev.media.prosv.ru/content/?situations=true&amp;klass=7" TargetMode="Externa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8.png"/><Relationship Id="rId5" Type="http://schemas.openxmlformats.org/officeDocument/2006/relationships/image" Target="../media/image61.png"/><Relationship Id="rId4" Type="http://schemas.openxmlformats.org/officeDocument/2006/relationships/hyperlink" Target="https://dev.media.prosv.ru/content/?situations=true&amp;klass=7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image" Target="../media/image62.png"/><Relationship Id="rId7" Type="http://schemas.openxmlformats.org/officeDocument/2006/relationships/image" Target="../media/image66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5.jpeg"/><Relationship Id="rId5" Type="http://schemas.openxmlformats.org/officeDocument/2006/relationships/image" Target="../media/image64.jpeg"/><Relationship Id="rId4" Type="http://schemas.openxmlformats.org/officeDocument/2006/relationships/image" Target="../media/image63.jpeg"/><Relationship Id="rId9" Type="http://schemas.openxmlformats.org/officeDocument/2006/relationships/image" Target="../media/image68.gi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hyperlink" Target="https://uchitel.club/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0.png"/><Relationship Id="rId5" Type="http://schemas.openxmlformats.org/officeDocument/2006/relationships/image" Target="../media/image72.png"/><Relationship Id="rId4" Type="http://schemas.openxmlformats.org/officeDocument/2006/relationships/hyperlink" Target="https://uchitel.club/maths-award/" TargetMode="Externa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4.png"/><Relationship Id="rId5" Type="http://schemas.openxmlformats.org/officeDocument/2006/relationships/hyperlink" Target="https://chemistry.prosv.ru/#popup-signin" TargetMode="External"/><Relationship Id="rId4" Type="http://schemas.openxmlformats.org/officeDocument/2006/relationships/image" Target="../media/image73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uchitel.club/physics-award/" TargetMode="External"/><Relationship Id="rId5" Type="http://schemas.openxmlformats.org/officeDocument/2006/relationships/image" Target="../media/image3.emf"/><Relationship Id="rId4" Type="http://schemas.openxmlformats.org/officeDocument/2006/relationships/hyperlink" Target="https://media.prosv.ru/fg/" TargetMode="Externa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13" Type="http://schemas.openxmlformats.org/officeDocument/2006/relationships/image" Target="../media/image78.pn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12" Type="http://schemas.openxmlformats.org/officeDocument/2006/relationships/hyperlink" Target="mailto:EZubkova@prosv.ru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3.emf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77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6.gif"/><Relationship Id="rId14" Type="http://schemas.openxmlformats.org/officeDocument/2006/relationships/hyperlink" Target="https://shop.prosv.ru/search?q=%D0%A0%D0%BE%D1%81%D0%BB%D0%BE%D0%B2%D0%B0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1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«Просвещение», 2021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28803" y="4431335"/>
            <a:ext cx="11481124" cy="886397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3200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тодика использования упражнений с практическим контекстом по образцу международных исследований качества образования</a:t>
            </a:r>
          </a:p>
        </p:txBody>
      </p:sp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003053" y="137532"/>
            <a:ext cx="372236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PISA – не PISA – почти PISA</a:t>
            </a:r>
            <a:endParaRPr lang="ru-RU" sz="24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75029" y="752549"/>
            <a:ext cx="1185791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История волонтёрского движения в нашей стране ведёт свой </a:t>
            </a:r>
            <a:r>
              <a:rPr lang="ru-RU" sz="1600" dirty="0" smtClean="0"/>
              <a:t>отсчёт с </a:t>
            </a:r>
            <a:r>
              <a:rPr lang="ru-RU" sz="1600" dirty="0"/>
              <a:t>1995 года, когда состоялся первый Российский форум добровольцев</a:t>
            </a:r>
            <a:r>
              <a:rPr lang="ru-RU" sz="1600" dirty="0" smtClean="0"/>
              <a:t>. Волонтёрство </a:t>
            </a:r>
            <a:r>
              <a:rPr lang="ru-RU" sz="1600" dirty="0"/>
              <a:t>— это оказание добровольной и бескорыстной </a:t>
            </a:r>
            <a:r>
              <a:rPr lang="ru-RU" sz="1600" dirty="0" smtClean="0"/>
              <a:t>помощи тем</a:t>
            </a:r>
            <a:r>
              <a:rPr lang="ru-RU" sz="1600" dirty="0"/>
              <a:t>, кто в ней нуждается. В основе волонтёрского движения </a:t>
            </a:r>
            <a:r>
              <a:rPr lang="ru-RU" sz="1600" dirty="0" smtClean="0"/>
              <a:t>лежит простой </a:t>
            </a:r>
            <a:r>
              <a:rPr lang="ru-RU" sz="1600" dirty="0"/>
              <a:t>принцип: хочешь почувствовать себя человеком — помоги</a:t>
            </a:r>
          </a:p>
          <a:p>
            <a:r>
              <a:rPr lang="ru-RU" sz="1600" dirty="0"/>
              <a:t>другому. За прошедшие годы на информационной платформе «</a:t>
            </a:r>
            <a:r>
              <a:rPr lang="ru-RU" sz="1600" dirty="0" smtClean="0"/>
              <a:t>Добровольцы </a:t>
            </a:r>
            <a:r>
              <a:rPr lang="ru-RU" sz="1600" dirty="0"/>
              <a:t>России» зарегистрировано более 1,5 тыс. добровольческих </a:t>
            </a:r>
            <a:r>
              <a:rPr lang="ru-RU" sz="1600" dirty="0" smtClean="0"/>
              <a:t>организаций </a:t>
            </a:r>
            <a:r>
              <a:rPr lang="ru-RU" sz="1600" dirty="0"/>
              <a:t>и более 31,4 тыс. волонтёров. Большая часть из них — </a:t>
            </a:r>
            <a:r>
              <a:rPr lang="ru-RU" sz="1600" dirty="0" smtClean="0"/>
              <a:t>молодёжь </a:t>
            </a:r>
            <a:r>
              <a:rPr lang="ru-RU" sz="1600" dirty="0"/>
              <a:t>в возрасте младше 17 лет (23%) и от 18 до 24 лет (58%). </a:t>
            </a:r>
            <a:r>
              <a:rPr lang="ru-RU" sz="1600" dirty="0" smtClean="0"/>
              <a:t>Волонтёрские </a:t>
            </a:r>
            <a:r>
              <a:rPr lang="ru-RU" sz="1600" dirty="0"/>
              <a:t>организации активно взаимодействуют друг с другом.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46025" y="2322209"/>
            <a:ext cx="572842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</a:rPr>
              <a:t>Вопрос 1</a:t>
            </a:r>
          </a:p>
          <a:p>
            <a:r>
              <a:rPr lang="ru-RU" sz="1600" dirty="0"/>
              <a:t>Для руководителей волонтёрского движения из разных </a:t>
            </a:r>
            <a:r>
              <a:rPr lang="ru-RU" sz="1600" dirty="0" smtClean="0"/>
              <a:t>городов России </a:t>
            </a:r>
            <a:r>
              <a:rPr lang="ru-RU" sz="1600" dirty="0"/>
              <a:t>решено провести вебинар. Часовые пояса разных </a:t>
            </a:r>
            <a:r>
              <a:rPr lang="ru-RU" sz="1600" dirty="0" smtClean="0"/>
              <a:t>городов России </a:t>
            </a:r>
            <a:r>
              <a:rPr lang="ru-RU" sz="1600" dirty="0"/>
              <a:t>представлены на </a:t>
            </a:r>
            <a:r>
              <a:rPr lang="ru-RU" sz="1600" dirty="0" smtClean="0"/>
              <a:t>рисунке. </a:t>
            </a:r>
            <a:r>
              <a:rPr lang="ru-RU" sz="1600" dirty="0"/>
              <a:t>Найдите разницу во </a:t>
            </a:r>
            <a:r>
              <a:rPr lang="ru-RU" sz="1600" dirty="0" smtClean="0"/>
              <a:t>времени между </a:t>
            </a:r>
            <a:r>
              <a:rPr lang="ru-RU" sz="1600" dirty="0"/>
              <a:t>самым западным и самым восточным городами России.</a:t>
            </a:r>
          </a:p>
        </p:txBody>
      </p:sp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0" y="2322209"/>
            <a:ext cx="4457700" cy="2579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Прямоугольник 25"/>
          <p:cNvSpPr/>
          <p:nvPr/>
        </p:nvSpPr>
        <p:spPr>
          <a:xfrm>
            <a:off x="228729" y="3895691"/>
            <a:ext cx="561220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</a:rPr>
              <a:t>Вопрос </a:t>
            </a:r>
            <a:r>
              <a:rPr lang="ru-RU" sz="1600" b="1" dirty="0" smtClean="0">
                <a:solidFill>
                  <a:srgbClr val="002060"/>
                </a:solidFill>
              </a:rPr>
              <a:t>2</a:t>
            </a:r>
            <a:endParaRPr lang="ru-RU" sz="1600" b="1" dirty="0">
              <a:solidFill>
                <a:srgbClr val="002060"/>
              </a:solidFill>
            </a:endParaRPr>
          </a:p>
          <a:p>
            <a:r>
              <a:rPr lang="ru-RU" sz="1600" dirty="0"/>
              <a:t>На какое время по Москве необходимо назначить начало </a:t>
            </a:r>
            <a:r>
              <a:rPr lang="ru-RU" sz="1600" dirty="0" err="1" smtClean="0"/>
              <a:t>вебинара</a:t>
            </a:r>
            <a:r>
              <a:rPr lang="ru-RU" sz="1600" dirty="0"/>
              <a:t>, чтобы в нём приняли участие руководители </a:t>
            </a:r>
            <a:r>
              <a:rPr lang="ru-RU" sz="1600" dirty="0" smtClean="0"/>
              <a:t>волонтёрского</a:t>
            </a:r>
            <a:r>
              <a:rPr lang="ru-RU" sz="1600" dirty="0"/>
              <a:t> движения из городов всех часовых поясов России, если </a:t>
            </a:r>
            <a:r>
              <a:rPr lang="ru-RU" sz="1600" dirty="0" err="1"/>
              <a:t>вебинар</a:t>
            </a:r>
            <a:r>
              <a:rPr lang="ru-RU" sz="1600" dirty="0"/>
              <a:t> </a:t>
            </a:r>
            <a:r>
              <a:rPr lang="ru-RU" sz="1600" dirty="0" smtClean="0"/>
              <a:t>не может </a:t>
            </a:r>
            <a:r>
              <a:rPr lang="ru-RU" sz="1600" dirty="0"/>
              <a:t>начинаться ранее 9:00 и позже 19:00 по местному времени?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6152820"/>
              </p:ext>
            </p:extLst>
          </p:nvPr>
        </p:nvGraphicFramePr>
        <p:xfrm>
          <a:off x="6264275" y="4956460"/>
          <a:ext cx="5480049" cy="1737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266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66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266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Контекст</a:t>
                      </a:r>
                      <a:endParaRPr lang="ru-RU" sz="1600" dirty="0"/>
                    </a:p>
                  </a:txBody>
                  <a:tcPr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Математическое содержание</a:t>
                      </a:r>
                      <a:endParaRPr lang="ru-RU" sz="1600" dirty="0"/>
                    </a:p>
                  </a:txBody>
                  <a:tcPr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Познавательная деятельность</a:t>
                      </a:r>
                      <a:endParaRPr lang="ru-RU" sz="1600" dirty="0"/>
                    </a:p>
                  </a:txBody>
                  <a:tcPr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Общественная жизнь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Количество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Формулировать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Общественная жизнь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Количество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Применять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0" name="Прямоугольник 29"/>
          <p:cNvSpPr/>
          <p:nvPr/>
        </p:nvSpPr>
        <p:spPr>
          <a:xfrm>
            <a:off x="137987" y="6171666"/>
            <a:ext cx="595496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>
                <a:solidFill>
                  <a:srgbClr val="002060"/>
                </a:solidFill>
                <a:cs typeface="Arial" panose="020B0604020202020204" pitchFamily="34" charset="0"/>
                <a:hlinkClick r:id="rId5"/>
              </a:rPr>
              <a:t>Функциональная грамотность. Математика на каждый день. Тренажёр. 6-8 классы. Т.Ф. Сергеева</a:t>
            </a:r>
            <a:endParaRPr lang="ru-RU" sz="105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8472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003053" y="137532"/>
            <a:ext cx="372236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PISA – не PISA – почти PISA</a:t>
            </a:r>
            <a:endParaRPr lang="ru-RU" sz="2400" dirty="0"/>
          </a:p>
        </p:txBody>
      </p:sp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8" y="1821997"/>
            <a:ext cx="10601325" cy="295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9401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003053" y="137532"/>
            <a:ext cx="372236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PISA – не PISA – почти PISA</a:t>
            </a:r>
            <a:endParaRPr lang="ru-RU" sz="24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003053" y="671516"/>
            <a:ext cx="41258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Прочитайте текст и выполните задания</a:t>
            </a:r>
            <a:endParaRPr lang="ru-RU" dirty="0"/>
          </a:p>
        </p:txBody>
      </p:sp>
      <p:pic>
        <p:nvPicPr>
          <p:cNvPr id="819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0655" y="1116776"/>
            <a:ext cx="4588599" cy="2474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4068" y="1116776"/>
            <a:ext cx="2965869" cy="2474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9918" y="4010240"/>
            <a:ext cx="7787929" cy="2106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3455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-4216" y="6616876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933381" y="183397"/>
            <a:ext cx="53567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/>
              <a:t>Выполняем, проверяем и оцениваем задания</a:t>
            </a:r>
            <a:endParaRPr lang="ru-RU" sz="20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295718" y="1120495"/>
            <a:ext cx="113882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Взвешивание </a:t>
            </a:r>
            <a:r>
              <a:rPr lang="ru-RU" sz="2800" b="1" dirty="0" smtClean="0">
                <a:solidFill>
                  <a:srgbClr val="002060"/>
                </a:solidFill>
              </a:rPr>
              <a:t>фруктов</a:t>
            </a:r>
          </a:p>
          <a:p>
            <a:pPr algn="ctr"/>
            <a:r>
              <a:rPr lang="ru-RU" sz="2800" b="1" dirty="0">
                <a:solidFill>
                  <a:srgbClr val="0070C0"/>
                </a:solidFill>
              </a:rPr>
              <a:t>СТАРТОВЫЕ ЗАДАНИЯ</a:t>
            </a:r>
            <a:endParaRPr lang="ru-RU" sz="2800" b="1" dirty="0">
              <a:solidFill>
                <a:srgbClr val="0070C0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41934" y="2075966"/>
            <a:ext cx="450213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</a:rPr>
              <a:t>Лена покупала грейпфруты и лимоны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295718" y="2751672"/>
            <a:ext cx="72287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1. </a:t>
            </a:r>
            <a:r>
              <a:rPr lang="ru-RU" sz="2400" dirty="0">
                <a:solidFill>
                  <a:srgbClr val="002060"/>
                </a:solidFill>
              </a:rPr>
              <a:t>Она выбрала грейпфрут и положила его </a:t>
            </a:r>
            <a:r>
              <a:rPr lang="ru-RU" sz="2400" dirty="0" smtClean="0">
                <a:solidFill>
                  <a:srgbClr val="002060"/>
                </a:solidFill>
              </a:rPr>
              <a:t>на весы</a:t>
            </a:r>
            <a:r>
              <a:rPr lang="ru-RU" sz="2400" dirty="0">
                <a:solidFill>
                  <a:srgbClr val="002060"/>
                </a:solidFill>
              </a:rPr>
              <a:t>. Какова масса грейпфрута?</a:t>
            </a:r>
          </a:p>
        </p:txBody>
      </p:sp>
      <p:pic>
        <p:nvPicPr>
          <p:cNvPr id="29" name="Picture 114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157" y="1734087"/>
            <a:ext cx="3371850" cy="421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11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4691" y="3839112"/>
            <a:ext cx="516255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2" name="Прямоугольник 31"/>
              <p:cNvSpPr/>
              <p:nvPr/>
            </p:nvSpPr>
            <p:spPr>
              <a:xfrm>
                <a:off x="1209041" y="4658314"/>
                <a:ext cx="6393850" cy="156254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b="1" dirty="0" smtClean="0"/>
                  <a:t>Комментарий. </a:t>
                </a:r>
                <a:r>
                  <a:rPr lang="ru-RU" dirty="0"/>
                  <a:t>Между делениями 250 и 500 </a:t>
                </a:r>
                <a:r>
                  <a:rPr lang="ru-RU" dirty="0" smtClean="0"/>
                  <a:t>всего 5 </a:t>
                </a:r>
                <a:r>
                  <a:rPr lang="ru-RU" dirty="0"/>
                  <a:t>делений, </a:t>
                </a:r>
                <a:endParaRPr lang="ru-RU" dirty="0" smtClean="0"/>
              </a:p>
              <a:p>
                <a:r>
                  <a:rPr lang="ru-RU" dirty="0" smtClean="0"/>
                  <a:t>значит</a:t>
                </a:r>
                <a:r>
                  <a:rPr lang="ru-RU" dirty="0"/>
                  <a:t>, каждое деление равно 50 </a:t>
                </a:r>
                <a:r>
                  <a:rPr lang="ru-RU" dirty="0" smtClean="0"/>
                  <a:t>г 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i="1" dirty="0">
                          <a:latin typeface="Cambria Math"/>
                        </a:rPr>
                        <m:t>500 – 250 = 250 (г); </m:t>
                      </m:r>
                    </m:oMath>
                  </m:oMathPara>
                </a14:m>
                <a:endParaRPr lang="ru-RU" sz="2000" i="1" dirty="0" smtClean="0">
                  <a:latin typeface="Cambria Math"/>
                </a:endParaRPr>
              </a:p>
              <a:p>
                <a:pPr algn="ctr"/>
                <a14:m>
                  <m:oMath xmlns:m="http://schemas.openxmlformats.org/officeDocument/2006/math">
                    <m:r>
                      <a:rPr lang="ru-RU" sz="2000" i="1" dirty="0">
                        <a:latin typeface="Cambria Math"/>
                      </a:rPr>
                      <m:t>250 : 5 = 50 (г)</m:t>
                    </m:r>
                  </m:oMath>
                </a14:m>
                <a:r>
                  <a:rPr lang="ru-RU" dirty="0"/>
                  <a:t>. </a:t>
                </a:r>
                <a:endParaRPr lang="ru-RU" dirty="0" smtClean="0"/>
              </a:p>
              <a:p>
                <a:r>
                  <a:rPr lang="ru-RU" dirty="0" smtClean="0"/>
                  <a:t>Значит</a:t>
                </a:r>
                <a:r>
                  <a:rPr lang="ru-RU" dirty="0"/>
                  <a:t>, </a:t>
                </a:r>
                <a:r>
                  <a:rPr lang="ru-RU" dirty="0" smtClean="0"/>
                  <a:t>масса грейпфрута </a:t>
                </a:r>
                <a:r>
                  <a:rPr lang="ru-RU" dirty="0"/>
                  <a:t>равна </a:t>
                </a:r>
                <a14:m>
                  <m:oMath xmlns:m="http://schemas.openxmlformats.org/officeDocument/2006/math">
                    <m:r>
                      <a:rPr lang="ru-RU" sz="2000" i="1" dirty="0" smtClean="0">
                        <a:latin typeface="Cambria Math"/>
                      </a:rPr>
                      <m:t>250 + 50 = 300 (г)</m:t>
                    </m:r>
                  </m:oMath>
                </a14:m>
                <a:endParaRPr lang="ru-RU" sz="2000" dirty="0"/>
              </a:p>
            </p:txBody>
          </p:sp>
        </mc:Choice>
        <mc:Fallback xmlns="">
          <p:sp>
            <p:nvSpPr>
              <p:cNvPr id="32" name="Прямоугольник 3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09041" y="4658314"/>
                <a:ext cx="6393850" cy="1562544"/>
              </a:xfrm>
              <a:prstGeom prst="rect">
                <a:avLst/>
              </a:prstGeom>
              <a:blipFill rotWithShape="1">
                <a:blip r:embed="rId6"/>
                <a:stretch>
                  <a:fillRect l="-763" t="-1953" b="-507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Прямоугольник 32"/>
              <p:cNvSpPr/>
              <p:nvPr/>
            </p:nvSpPr>
            <p:spPr>
              <a:xfrm>
                <a:off x="4402654" y="3736480"/>
                <a:ext cx="1013418" cy="58477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3200" b="1" i="1" dirty="0" smtClean="0">
                          <a:solidFill>
                            <a:srgbClr val="002060"/>
                          </a:solidFill>
                          <a:latin typeface="Cambria Math"/>
                        </a:rPr>
                        <m:t>𝟑𝟎𝟎</m:t>
                      </m:r>
                    </m:oMath>
                  </m:oMathPara>
                </a14:m>
                <a:endParaRPr lang="ru-RU" sz="3200" b="1" dirty="0">
                  <a:solidFill>
                    <a:srgbClr val="002060"/>
                  </a:solidFill>
                </a:endParaRPr>
              </a:p>
            </p:txBody>
          </p:sp>
        </mc:Choice>
        <mc:Fallback xmlns="">
          <p:sp>
            <p:nvSpPr>
              <p:cNvPr id="33" name="Прямоугольник 3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02654" y="3736480"/>
                <a:ext cx="1013418" cy="584775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25884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-4216" y="6616876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933381" y="183397"/>
            <a:ext cx="53567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/>
              <a:t>Выполняем, проверяем и оцениваем задания</a:t>
            </a:r>
            <a:endParaRPr lang="ru-RU" sz="2000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165452" y="983956"/>
            <a:ext cx="113882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Взвешивание </a:t>
            </a:r>
            <a:r>
              <a:rPr lang="ru-RU" sz="2800" b="1" dirty="0" smtClean="0">
                <a:solidFill>
                  <a:srgbClr val="002060"/>
                </a:solidFill>
              </a:rPr>
              <a:t>фруктов</a:t>
            </a:r>
          </a:p>
          <a:p>
            <a:pPr algn="ctr"/>
            <a:r>
              <a:rPr lang="ru-RU" sz="2800" b="1" dirty="0">
                <a:solidFill>
                  <a:srgbClr val="0070C0"/>
                </a:solidFill>
              </a:rPr>
              <a:t>СТАРТОВЫЕ ЗАДАНИЯ</a:t>
            </a:r>
            <a:endParaRPr lang="ru-RU" sz="2800" b="1" dirty="0">
              <a:solidFill>
                <a:srgbClr val="0070C0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11668" y="1939427"/>
            <a:ext cx="450213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</a:rPr>
              <a:t>Лена покупала грейпфруты и лимоны.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65451" y="2429850"/>
            <a:ext cx="796861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2060"/>
                </a:solidFill>
              </a:rPr>
              <a:t>2. </a:t>
            </a:r>
            <a:r>
              <a:rPr lang="ru-RU" sz="2400" dirty="0">
                <a:solidFill>
                  <a:srgbClr val="002060"/>
                </a:solidFill>
              </a:rPr>
              <a:t>Лена выбрала два примерно одинаковых </a:t>
            </a:r>
            <a:r>
              <a:rPr lang="ru-RU" sz="2400" dirty="0" smtClean="0">
                <a:solidFill>
                  <a:srgbClr val="002060"/>
                </a:solidFill>
              </a:rPr>
              <a:t>лимона </a:t>
            </a:r>
            <a:r>
              <a:rPr lang="ru-RU" sz="2400" dirty="0">
                <a:solidFill>
                  <a:srgbClr val="002060"/>
                </a:solidFill>
              </a:rPr>
              <a:t>и положила их на весы. Что покажут весы, </a:t>
            </a:r>
            <a:r>
              <a:rPr lang="ru-RU" sz="2400" dirty="0" smtClean="0">
                <a:solidFill>
                  <a:srgbClr val="002060"/>
                </a:solidFill>
              </a:rPr>
              <a:t>если она </a:t>
            </a:r>
            <a:r>
              <a:rPr lang="ru-RU" sz="2400" dirty="0">
                <a:solidFill>
                  <a:srgbClr val="002060"/>
                </a:solidFill>
              </a:rPr>
              <a:t>найдёт ещё один такой же лимон и взвесит </a:t>
            </a:r>
            <a:r>
              <a:rPr lang="ru-RU" sz="2400" dirty="0" smtClean="0">
                <a:solidFill>
                  <a:srgbClr val="002060"/>
                </a:solidFill>
              </a:rPr>
              <a:t>вместе </a:t>
            </a:r>
            <a:r>
              <a:rPr lang="ru-RU" sz="2400" dirty="0">
                <a:solidFill>
                  <a:srgbClr val="002060"/>
                </a:solidFill>
              </a:rPr>
              <a:t>три лимона? Запишите ответ и объяснение </a:t>
            </a:r>
            <a:r>
              <a:rPr lang="ru-RU" sz="2400" dirty="0" smtClean="0">
                <a:solidFill>
                  <a:srgbClr val="002060"/>
                </a:solidFill>
              </a:rPr>
              <a:t>полученного </a:t>
            </a:r>
            <a:r>
              <a:rPr lang="ru-RU" sz="2400" dirty="0">
                <a:solidFill>
                  <a:srgbClr val="002060"/>
                </a:solidFill>
              </a:rPr>
              <a:t>ответа.</a:t>
            </a: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9141" y="1461009"/>
            <a:ext cx="3333750" cy="387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6840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-4216" y="6616876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933381" y="183397"/>
            <a:ext cx="53567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/>
              <a:t>Выполняем, проверяем и оцениваем задания</a:t>
            </a:r>
            <a:endParaRPr lang="ru-RU" sz="2000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165452" y="983956"/>
            <a:ext cx="113882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Взвешивание </a:t>
            </a:r>
            <a:r>
              <a:rPr lang="ru-RU" sz="2800" b="1" dirty="0" smtClean="0">
                <a:solidFill>
                  <a:srgbClr val="002060"/>
                </a:solidFill>
              </a:rPr>
              <a:t>фруктов</a:t>
            </a:r>
          </a:p>
          <a:p>
            <a:pPr algn="ctr"/>
            <a:r>
              <a:rPr lang="ru-RU" sz="2800" b="1" dirty="0">
                <a:solidFill>
                  <a:srgbClr val="0070C0"/>
                </a:solidFill>
              </a:rPr>
              <a:t>СТАРТОВЫЕ ЗАДАНИЯ</a:t>
            </a:r>
            <a:endParaRPr lang="ru-RU" sz="2800" b="1" dirty="0">
              <a:solidFill>
                <a:srgbClr val="0070C0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11668" y="1939427"/>
            <a:ext cx="450213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</a:rPr>
              <a:t>Лена покупала грейпфруты и лимоны.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65451" y="2429850"/>
            <a:ext cx="796861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2060"/>
                </a:solidFill>
              </a:rPr>
              <a:t>2. </a:t>
            </a:r>
            <a:r>
              <a:rPr lang="ru-RU" sz="2400" dirty="0">
                <a:solidFill>
                  <a:srgbClr val="002060"/>
                </a:solidFill>
              </a:rPr>
              <a:t>Лена выбрала два примерно одинаковых </a:t>
            </a:r>
            <a:r>
              <a:rPr lang="ru-RU" sz="2400" dirty="0" smtClean="0">
                <a:solidFill>
                  <a:srgbClr val="002060"/>
                </a:solidFill>
              </a:rPr>
              <a:t>лимона </a:t>
            </a:r>
            <a:r>
              <a:rPr lang="ru-RU" sz="2400" dirty="0">
                <a:solidFill>
                  <a:srgbClr val="002060"/>
                </a:solidFill>
              </a:rPr>
              <a:t>и положила их на весы. Что покажут весы, </a:t>
            </a:r>
            <a:r>
              <a:rPr lang="ru-RU" sz="2400" dirty="0" smtClean="0">
                <a:solidFill>
                  <a:srgbClr val="002060"/>
                </a:solidFill>
              </a:rPr>
              <a:t>если она </a:t>
            </a:r>
            <a:r>
              <a:rPr lang="ru-RU" sz="2400" dirty="0">
                <a:solidFill>
                  <a:srgbClr val="002060"/>
                </a:solidFill>
              </a:rPr>
              <a:t>найдёт ещё один такой же лимон и взвесит </a:t>
            </a:r>
            <a:r>
              <a:rPr lang="ru-RU" sz="2400" dirty="0" smtClean="0">
                <a:solidFill>
                  <a:srgbClr val="002060"/>
                </a:solidFill>
              </a:rPr>
              <a:t>вместе </a:t>
            </a:r>
            <a:r>
              <a:rPr lang="ru-RU" sz="2400" dirty="0">
                <a:solidFill>
                  <a:srgbClr val="002060"/>
                </a:solidFill>
              </a:rPr>
              <a:t>три лимона? Запишите ответ и объяснение </a:t>
            </a:r>
            <a:r>
              <a:rPr lang="ru-RU" sz="2400" dirty="0" smtClean="0">
                <a:solidFill>
                  <a:srgbClr val="002060"/>
                </a:solidFill>
              </a:rPr>
              <a:t>полученного </a:t>
            </a:r>
            <a:r>
              <a:rPr lang="ru-RU" sz="2400" dirty="0">
                <a:solidFill>
                  <a:srgbClr val="002060"/>
                </a:solidFill>
              </a:rPr>
              <a:t>ответа.</a:t>
            </a:r>
          </a:p>
        </p:txBody>
      </p:sp>
      <p:pic>
        <p:nvPicPr>
          <p:cNvPr id="34" name="Picture 1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451" y="4021491"/>
            <a:ext cx="4188186" cy="432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9141" y="1461009"/>
            <a:ext cx="3333750" cy="387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44" y="4597247"/>
            <a:ext cx="18288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8" name="Прямоугольник 37"/>
              <p:cNvSpPr/>
              <p:nvPr/>
            </p:nvSpPr>
            <p:spPr>
              <a:xfrm>
                <a:off x="2057879" y="3961573"/>
                <a:ext cx="806631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b="1" i="1" dirty="0" smtClean="0">
                          <a:solidFill>
                            <a:srgbClr val="002060"/>
                          </a:solidFill>
                          <a:latin typeface="Cambria Math"/>
                        </a:rPr>
                        <m:t>𝟒𝟓</m:t>
                      </m:r>
                      <m:r>
                        <a:rPr lang="ru-RU" sz="2400" b="1" i="1" dirty="0" smtClean="0">
                          <a:solidFill>
                            <a:srgbClr val="002060"/>
                          </a:solidFill>
                          <a:latin typeface="Cambria Math"/>
                        </a:rPr>
                        <m:t>𝟎</m:t>
                      </m:r>
                    </m:oMath>
                  </m:oMathPara>
                </a14:m>
                <a:endParaRPr lang="ru-RU" sz="2400" b="1" dirty="0">
                  <a:solidFill>
                    <a:srgbClr val="002060"/>
                  </a:solidFill>
                </a:endParaRPr>
              </a:p>
            </p:txBody>
          </p:sp>
        </mc:Choice>
        <mc:Fallback xmlns="">
          <p:sp>
            <p:nvSpPr>
              <p:cNvPr id="38" name="Прямоугольник 3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57879" y="3961573"/>
                <a:ext cx="806631" cy="461665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Прямоугольник 38"/>
              <p:cNvSpPr/>
              <p:nvPr/>
            </p:nvSpPr>
            <p:spPr>
              <a:xfrm>
                <a:off x="2038065" y="4597247"/>
                <a:ext cx="10153935" cy="147732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342900" indent="-342900">
                  <a:buAutoNum type="arabicPeriod"/>
                </a:pPr>
                <a:r>
                  <a:rPr lang="ru-RU" dirty="0" smtClean="0"/>
                  <a:t>Масса </a:t>
                </a:r>
                <a:r>
                  <a:rPr lang="ru-RU" dirty="0"/>
                  <a:t>двух лимонов 300 г, одного лимона </a:t>
                </a:r>
                <a:r>
                  <a:rPr lang="ru-RU" dirty="0" smtClean="0"/>
                  <a:t>—</a:t>
                </a:r>
                <a:r>
                  <a:rPr lang="en-US" dirty="0" smtClean="0"/>
                  <a:t> </a:t>
                </a:r>
                <a14:m>
                  <m:oMath xmlns:m="http://schemas.openxmlformats.org/officeDocument/2006/math">
                    <m:r>
                      <a:rPr lang="ru-RU" i="1" dirty="0" smtClean="0">
                        <a:latin typeface="Cambria Math"/>
                      </a:rPr>
                      <m:t>300 </m:t>
                    </m:r>
                    <m:r>
                      <a:rPr lang="ru-RU" i="1" dirty="0">
                        <a:latin typeface="Cambria Math"/>
                      </a:rPr>
                      <m:t>: 2 = 150 </m:t>
                    </m:r>
                  </m:oMath>
                </a14:m>
                <a:r>
                  <a:rPr lang="ru-RU" dirty="0"/>
                  <a:t>(г), </a:t>
                </a:r>
                <a:endParaRPr lang="en-US" dirty="0" smtClean="0"/>
              </a:p>
              <a:p>
                <a:r>
                  <a:rPr lang="ru-RU" dirty="0" smtClean="0"/>
                  <a:t>трёх </a:t>
                </a:r>
                <a:r>
                  <a:rPr lang="ru-RU" dirty="0"/>
                  <a:t>лимонов — </a:t>
                </a:r>
                <a14:m>
                  <m:oMath xmlns:m="http://schemas.openxmlformats.org/officeDocument/2006/math">
                    <m:r>
                      <a:rPr lang="ru-RU" i="1" dirty="0" smtClean="0">
                        <a:latin typeface="Cambria Math"/>
                      </a:rPr>
                      <m:t>150</m:t>
                    </m:r>
                    <m:r>
                      <a:rPr lang="ru-RU" i="1" dirty="0" smtClean="0">
                        <a:latin typeface="Cambria Math"/>
                        <a:ea typeface="Cambria Math"/>
                      </a:rPr>
                      <m:t>∙</m:t>
                    </m:r>
                    <m:r>
                      <a:rPr lang="ru-RU" i="1" dirty="0" smtClean="0">
                        <a:latin typeface="Cambria Math"/>
                      </a:rPr>
                      <m:t>3 = 450 </m:t>
                    </m:r>
                  </m:oMath>
                </a14:m>
                <a:r>
                  <a:rPr lang="ru-RU" dirty="0"/>
                  <a:t>(г) </a:t>
                </a:r>
                <a:endParaRPr lang="en-US" dirty="0" smtClean="0"/>
              </a:p>
              <a:p>
                <a:r>
                  <a:rPr lang="ru-RU" dirty="0" smtClean="0"/>
                  <a:t>2</a:t>
                </a:r>
                <a:r>
                  <a:rPr lang="ru-RU" dirty="0"/>
                  <a:t>. </a:t>
                </a:r>
                <a14:m>
                  <m:oMath xmlns:m="http://schemas.openxmlformats.org/officeDocument/2006/math">
                    <m:r>
                      <a:rPr lang="ru-RU" i="1" dirty="0" smtClean="0">
                        <a:latin typeface="Cambria Math"/>
                      </a:rPr>
                      <m:t>(300 : 2) </m:t>
                    </m:r>
                    <m:r>
                      <a:rPr lang="ru-RU" i="1" dirty="0" smtClean="0">
                        <a:latin typeface="Cambria Math"/>
                        <a:ea typeface="Cambria Math"/>
                      </a:rPr>
                      <m:t>∙</m:t>
                    </m:r>
                    <m:r>
                      <a:rPr lang="ru-RU" i="1" dirty="0" smtClean="0">
                        <a:latin typeface="Cambria Math"/>
                      </a:rPr>
                      <m:t> 3 = 450</m:t>
                    </m:r>
                  </m:oMath>
                </a14:m>
                <a:r>
                  <a:rPr lang="ru-RU" dirty="0"/>
                  <a:t> (г</a:t>
                </a:r>
                <a:r>
                  <a:rPr lang="ru-RU" dirty="0" smtClean="0"/>
                  <a:t>)</a:t>
                </a:r>
                <a:endParaRPr lang="en-US" dirty="0" smtClean="0"/>
              </a:p>
              <a:p>
                <a:r>
                  <a:rPr lang="ru-RU" dirty="0" smtClean="0"/>
                  <a:t>3</a:t>
                </a:r>
                <a:r>
                  <a:rPr lang="ru-RU" dirty="0"/>
                  <a:t>. Весы показывают, что масса двух </a:t>
                </a:r>
                <a:r>
                  <a:rPr lang="ru-RU" dirty="0" smtClean="0"/>
                  <a:t>лимонов</a:t>
                </a:r>
                <a:r>
                  <a:rPr lang="en-US" dirty="0" smtClean="0"/>
                  <a:t> </a:t>
                </a:r>
                <a:r>
                  <a:rPr lang="ru-RU" dirty="0" smtClean="0"/>
                  <a:t>равна </a:t>
                </a:r>
                <a:r>
                  <a:rPr lang="ru-RU" dirty="0"/>
                  <a:t>300 г, значит, масса одного лимона —</a:t>
                </a:r>
              </a:p>
              <a:p>
                <a:r>
                  <a:rPr lang="ru-RU" dirty="0"/>
                  <a:t>150 г (</a:t>
                </a:r>
                <a14:m>
                  <m:oMath xmlns:m="http://schemas.openxmlformats.org/officeDocument/2006/math">
                    <m:r>
                      <a:rPr lang="ru-RU" i="1" dirty="0" smtClean="0">
                        <a:latin typeface="Cambria Math"/>
                      </a:rPr>
                      <m:t>300 : 2 = 150</m:t>
                    </m:r>
                  </m:oMath>
                </a14:m>
                <a:r>
                  <a:rPr lang="ru-RU" dirty="0"/>
                  <a:t>), масса трёх лимонов в 3 </a:t>
                </a:r>
                <a:r>
                  <a:rPr lang="ru-RU" dirty="0" smtClean="0"/>
                  <a:t>раза</a:t>
                </a:r>
                <a:r>
                  <a:rPr lang="en-US" dirty="0" smtClean="0"/>
                  <a:t> </a:t>
                </a:r>
                <a:r>
                  <a:rPr lang="ru-RU" dirty="0" smtClean="0"/>
                  <a:t>больше </a:t>
                </a:r>
                <a:r>
                  <a:rPr lang="ru-RU" dirty="0"/>
                  <a:t>(</a:t>
                </a:r>
                <a14:m>
                  <m:oMath xmlns:m="http://schemas.openxmlformats.org/officeDocument/2006/math">
                    <m:r>
                      <a:rPr lang="ru-RU" i="1" dirty="0" smtClean="0">
                        <a:latin typeface="Cambria Math"/>
                      </a:rPr>
                      <m:t>150</m:t>
                    </m:r>
                    <m:r>
                      <a:rPr lang="ru-RU" i="1" dirty="0" smtClean="0">
                        <a:latin typeface="Cambria Math"/>
                        <a:ea typeface="Cambria Math"/>
                      </a:rPr>
                      <m:t>∙</m:t>
                    </m:r>
                    <m:r>
                      <a:rPr lang="ru-RU" i="1" dirty="0" smtClean="0">
                        <a:latin typeface="Cambria Math"/>
                      </a:rPr>
                      <m:t>3 = 450</m:t>
                    </m:r>
                  </m:oMath>
                </a14:m>
                <a:r>
                  <a:rPr lang="ru-RU" dirty="0"/>
                  <a:t>) — 450 </a:t>
                </a:r>
                <a:r>
                  <a:rPr lang="ru-RU" dirty="0" smtClean="0"/>
                  <a:t>г</a:t>
                </a:r>
                <a:endParaRPr lang="ru-RU" dirty="0"/>
              </a:p>
            </p:txBody>
          </p:sp>
        </mc:Choice>
        <mc:Fallback xmlns="">
          <p:sp>
            <p:nvSpPr>
              <p:cNvPr id="39" name="Прямоугольник 3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38065" y="4597247"/>
                <a:ext cx="10153935" cy="1477328"/>
              </a:xfrm>
              <a:prstGeom prst="rect">
                <a:avLst/>
              </a:prstGeom>
              <a:blipFill rotWithShape="1">
                <a:blip r:embed="rId8"/>
                <a:stretch>
                  <a:fillRect l="-480" t="-2066" b="-578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60452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-4216" y="6616876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933381" y="183397"/>
            <a:ext cx="53567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/>
              <a:t>Выполняем, проверяем и оцениваем задания</a:t>
            </a:r>
            <a:endParaRPr lang="ru-RU" sz="2000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165451" y="1461010"/>
            <a:ext cx="113882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Взвешивание </a:t>
            </a:r>
            <a:r>
              <a:rPr lang="ru-RU" sz="2800" b="1" dirty="0" smtClean="0">
                <a:solidFill>
                  <a:srgbClr val="002060"/>
                </a:solidFill>
              </a:rPr>
              <a:t>фруктов</a:t>
            </a:r>
          </a:p>
          <a:p>
            <a:pPr algn="ctr"/>
            <a:r>
              <a:rPr lang="ru-RU" sz="2800" b="1" dirty="0">
                <a:solidFill>
                  <a:srgbClr val="0070C0"/>
                </a:solidFill>
              </a:rPr>
              <a:t>СТАРТОВЫЕ ЗАДАНИЯ</a:t>
            </a:r>
            <a:endParaRPr lang="ru-RU" sz="2800" b="1" dirty="0">
              <a:solidFill>
                <a:srgbClr val="0070C0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1" name="Таблица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0975704"/>
              </p:ext>
            </p:extLst>
          </p:nvPr>
        </p:nvGraphicFramePr>
        <p:xfrm>
          <a:off x="1980241" y="2616704"/>
          <a:ext cx="8127999" cy="26517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4044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092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43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b="1" i="0" u="none" strike="noStrike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№ задания</a:t>
                      </a:r>
                      <a:endParaRPr lang="ru-RU" sz="24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i="0" u="none" strike="noStrike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Оценка ответа</a:t>
                      </a:r>
                      <a:endParaRPr lang="ru-RU" sz="24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rgbClr val="002060"/>
                          </a:solidFill>
                        </a:rPr>
                        <a:t>Баллы</a:t>
                      </a:r>
                      <a:endParaRPr lang="ru-RU" sz="24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rgbClr val="002060"/>
                          </a:solidFill>
                        </a:rPr>
                        <a:t>1</a:t>
                      </a:r>
                      <a:endParaRPr lang="ru-RU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балл </a:t>
                      </a:r>
                      <a:r>
                        <a:rPr lang="ru-RU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— дан ответ «300 г»;</a:t>
                      </a:r>
                    </a:p>
                    <a:p>
                      <a:r>
                        <a:rPr lang="ru-RU" sz="18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 баллов </a:t>
                      </a:r>
                      <a:r>
                        <a:rPr lang="ru-RU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— дан другой ответ ИЛИ ответ отсутствует.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rgbClr val="002060"/>
                          </a:solidFill>
                        </a:rPr>
                        <a:t>2</a:t>
                      </a:r>
                      <a:endParaRPr lang="ru-RU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балл </a:t>
                      </a:r>
                      <a:r>
                        <a:rPr lang="ru-RU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— дан ответ «450 г» и дано объяснение, в ко-</a:t>
                      </a:r>
                    </a:p>
                    <a:p>
                      <a:r>
                        <a:rPr lang="ru-RU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ором с помощью слов или действий показано, как по-</a:t>
                      </a:r>
                    </a:p>
                    <a:p>
                      <a:r>
                        <a:rPr lang="ru-RU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лучена масса одного лимона и масса трёх лимонов;</a:t>
                      </a:r>
                    </a:p>
                    <a:p>
                      <a:r>
                        <a:rPr lang="ru-RU" sz="18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 баллов </a:t>
                      </a:r>
                      <a:r>
                        <a:rPr lang="ru-RU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— дан другой ответ ИЛИ ответ отсутствует.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2" name="Picture 114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667" y="3010661"/>
            <a:ext cx="1674508" cy="2090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7951" y="3080772"/>
            <a:ext cx="1831559" cy="21298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3280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-4216" y="6616876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933381" y="183397"/>
            <a:ext cx="53567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/>
              <a:t>Выполняем, проверяем и оцениваем задания</a:t>
            </a:r>
            <a:endParaRPr lang="ru-RU" sz="20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165451" y="983956"/>
            <a:ext cx="113882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Взвешивание </a:t>
            </a:r>
            <a:r>
              <a:rPr lang="ru-RU" sz="2800" b="1" dirty="0" smtClean="0">
                <a:solidFill>
                  <a:srgbClr val="002060"/>
                </a:solidFill>
              </a:rPr>
              <a:t>фруктов</a:t>
            </a:r>
          </a:p>
          <a:p>
            <a:pPr algn="ctr"/>
            <a:r>
              <a:rPr lang="ru-RU" sz="2800" b="1" dirty="0" smtClean="0">
                <a:solidFill>
                  <a:srgbClr val="0070C0"/>
                </a:solidFill>
              </a:rPr>
              <a:t>ИТОГОВЫЕ </a:t>
            </a:r>
            <a:r>
              <a:rPr lang="ru-RU" sz="2800" b="1" dirty="0">
                <a:solidFill>
                  <a:srgbClr val="0070C0"/>
                </a:solidFill>
              </a:rPr>
              <a:t>ЗАДАНИЯ</a:t>
            </a:r>
            <a:endParaRPr lang="ru-RU" sz="2800" b="1" dirty="0">
              <a:solidFill>
                <a:srgbClr val="0070C0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18448" y="1938063"/>
            <a:ext cx="6096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</a:rPr>
              <a:t>На весах лежат пять лимонов примерно одинакового размера. </a:t>
            </a:r>
            <a:r>
              <a:rPr lang="ru-RU" sz="2000" dirty="0" smtClean="0">
                <a:solidFill>
                  <a:srgbClr val="002060"/>
                </a:solidFill>
              </a:rPr>
              <a:t>На соседних </a:t>
            </a:r>
            <a:r>
              <a:rPr lang="ru-RU" sz="2000" dirty="0">
                <a:solidFill>
                  <a:srgbClr val="002060"/>
                </a:solidFill>
              </a:rPr>
              <a:t>весах лежат пять апельсинов примерно одинакового размера.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360641" y="2993870"/>
            <a:ext cx="6096000" cy="31700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000" b="1" dirty="0">
                <a:solidFill>
                  <a:srgbClr val="C00000"/>
                </a:solidFill>
              </a:rPr>
              <a:t>1. </a:t>
            </a:r>
            <a:r>
              <a:rPr lang="ru-RU" sz="2000" dirty="0">
                <a:solidFill>
                  <a:srgbClr val="002060"/>
                </a:solidFill>
              </a:rPr>
              <a:t>Какие утверждения относительно этих лимонов и апельсинов </a:t>
            </a:r>
            <a:r>
              <a:rPr lang="ru-RU" sz="2000" dirty="0" smtClean="0">
                <a:solidFill>
                  <a:srgbClr val="002060"/>
                </a:solidFill>
              </a:rPr>
              <a:t>являются </a:t>
            </a:r>
            <a:r>
              <a:rPr lang="ru-RU" sz="2000" dirty="0">
                <a:solidFill>
                  <a:srgbClr val="002060"/>
                </a:solidFill>
              </a:rPr>
              <a:t>верными?</a:t>
            </a:r>
          </a:p>
          <a:p>
            <a:r>
              <a:rPr lang="ru-RU" sz="2000" dirty="0">
                <a:solidFill>
                  <a:srgbClr val="002060"/>
                </a:solidFill>
              </a:rPr>
              <a:t>1) один апельсин тяжелее лимона</a:t>
            </a:r>
          </a:p>
          <a:p>
            <a:r>
              <a:rPr lang="ru-RU" sz="2000" dirty="0">
                <a:solidFill>
                  <a:srgbClr val="002060"/>
                </a:solidFill>
              </a:rPr>
              <a:t>2) три лимона легче трёх апельсинов</a:t>
            </a:r>
          </a:p>
          <a:p>
            <a:r>
              <a:rPr lang="ru-RU" sz="2000" dirty="0">
                <a:solidFill>
                  <a:srgbClr val="002060"/>
                </a:solidFill>
              </a:rPr>
              <a:t>3) масса трёх апельсинов и двух лимонов меньше массы </a:t>
            </a:r>
            <a:r>
              <a:rPr lang="ru-RU" sz="2000" dirty="0" smtClean="0">
                <a:solidFill>
                  <a:srgbClr val="002060"/>
                </a:solidFill>
              </a:rPr>
              <a:t>пяти апельсинов</a:t>
            </a:r>
            <a:endParaRPr lang="ru-RU" sz="2000" dirty="0">
              <a:solidFill>
                <a:srgbClr val="002060"/>
              </a:solidFill>
            </a:endParaRPr>
          </a:p>
          <a:p>
            <a:r>
              <a:rPr lang="ru-RU" sz="2000" dirty="0">
                <a:solidFill>
                  <a:srgbClr val="002060"/>
                </a:solidFill>
              </a:rPr>
              <a:t>4) масса одного лимона примерно в три раза меньше массы </a:t>
            </a:r>
            <a:r>
              <a:rPr lang="ru-RU" sz="2000" dirty="0" smtClean="0">
                <a:solidFill>
                  <a:srgbClr val="002060"/>
                </a:solidFill>
              </a:rPr>
              <a:t>одного </a:t>
            </a:r>
            <a:r>
              <a:rPr lang="ru-RU" sz="2000" dirty="0">
                <a:solidFill>
                  <a:srgbClr val="002060"/>
                </a:solidFill>
              </a:rPr>
              <a:t>апельсина</a:t>
            </a:r>
          </a:p>
          <a:p>
            <a:r>
              <a:rPr lang="ru-RU" sz="2000" dirty="0">
                <a:solidFill>
                  <a:srgbClr val="002060"/>
                </a:solidFill>
              </a:rPr>
              <a:t>5) масса пяти лимонов меньше половины массы пяти апельсинов</a:t>
            </a:r>
          </a:p>
        </p:txBody>
      </p:sp>
      <p:graphicFrame>
        <p:nvGraphicFramePr>
          <p:cNvPr id="39" name="Таблица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9840507"/>
              </p:ext>
            </p:extLst>
          </p:nvPr>
        </p:nvGraphicFramePr>
        <p:xfrm>
          <a:off x="6643938" y="3498703"/>
          <a:ext cx="5357705" cy="237744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0905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937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34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1" i="0" u="none" strike="noStrike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№ задания</a:t>
                      </a:r>
                      <a:endParaRPr lang="ru-RU" sz="18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i="0" u="none" strike="noStrike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Оценка ответа</a:t>
                      </a:r>
                      <a:endParaRPr lang="ru-RU" sz="18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rgbClr val="002060"/>
                          </a:solidFill>
                        </a:rPr>
                        <a:t>Баллы</a:t>
                      </a:r>
                      <a:endParaRPr lang="ru-RU" sz="18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1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балла </a:t>
                      </a:r>
                      <a:r>
                        <a:rPr lang="ru-RU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— выбраны ответы 1, 2, 3, 5;</a:t>
                      </a:r>
                    </a:p>
                    <a:p>
                      <a:r>
                        <a:rPr lang="ru-RU" sz="18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балл </a:t>
                      </a:r>
                      <a:r>
                        <a:rPr lang="ru-RU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— выбраны 2—3 верных ответа из перечисленных выше;</a:t>
                      </a:r>
                    </a:p>
                    <a:p>
                      <a:r>
                        <a:rPr lang="ru-RU" sz="18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 баллов </a:t>
                      </a:r>
                      <a:r>
                        <a:rPr lang="ru-RU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— дан другой ответ ИЛИ ответ отсутствует</a:t>
                      </a:r>
                      <a:endParaRPr lang="ru-RU" sz="1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011" y="853331"/>
            <a:ext cx="4520295" cy="2587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8228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-4216" y="6616876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933381" y="183397"/>
            <a:ext cx="53567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/>
              <a:t>Выполняем, проверяем и оцениваем задания</a:t>
            </a:r>
            <a:endParaRPr lang="ru-RU" sz="20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165451" y="1104751"/>
            <a:ext cx="113882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Взвешивание </a:t>
            </a:r>
            <a:r>
              <a:rPr lang="ru-RU" sz="2800" b="1" dirty="0" smtClean="0">
                <a:solidFill>
                  <a:srgbClr val="002060"/>
                </a:solidFill>
              </a:rPr>
              <a:t>фруктов</a:t>
            </a:r>
          </a:p>
          <a:p>
            <a:pPr algn="ctr"/>
            <a:r>
              <a:rPr lang="ru-RU" sz="2800" b="1" dirty="0" smtClean="0">
                <a:solidFill>
                  <a:srgbClr val="0070C0"/>
                </a:solidFill>
              </a:rPr>
              <a:t>ИТОГОВЫЕ </a:t>
            </a:r>
            <a:r>
              <a:rPr lang="ru-RU" sz="2800" b="1" dirty="0">
                <a:solidFill>
                  <a:srgbClr val="0070C0"/>
                </a:solidFill>
              </a:rPr>
              <a:t>ЗАДАНИЯ</a:t>
            </a:r>
            <a:endParaRPr lang="ru-RU" sz="2800" b="1" dirty="0">
              <a:solidFill>
                <a:srgbClr val="0070C0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286"/>
          <a:stretch/>
        </p:blipFill>
        <p:spPr bwMode="auto">
          <a:xfrm>
            <a:off x="1078469" y="2058858"/>
            <a:ext cx="10153650" cy="2170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4601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-4216" y="6616876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933381" y="183397"/>
            <a:ext cx="53567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/>
              <a:t>Выполняем, проверяем и оцениваем задания</a:t>
            </a:r>
            <a:endParaRPr lang="ru-RU" sz="20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165451" y="1104751"/>
            <a:ext cx="113882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Взвешивание </a:t>
            </a:r>
            <a:r>
              <a:rPr lang="ru-RU" sz="2800" b="1" dirty="0" smtClean="0">
                <a:solidFill>
                  <a:srgbClr val="002060"/>
                </a:solidFill>
              </a:rPr>
              <a:t>фруктов</a:t>
            </a:r>
          </a:p>
          <a:p>
            <a:pPr algn="ctr"/>
            <a:r>
              <a:rPr lang="ru-RU" sz="2800" b="1" dirty="0" smtClean="0">
                <a:solidFill>
                  <a:srgbClr val="0070C0"/>
                </a:solidFill>
              </a:rPr>
              <a:t>ИТОГОВЫЕ </a:t>
            </a:r>
            <a:r>
              <a:rPr lang="ru-RU" sz="2800" b="1" dirty="0">
                <a:solidFill>
                  <a:srgbClr val="0070C0"/>
                </a:solidFill>
              </a:rPr>
              <a:t>ЗАДАНИЯ</a:t>
            </a:r>
            <a:endParaRPr lang="ru-RU" sz="2800" b="1" dirty="0">
              <a:solidFill>
                <a:srgbClr val="0070C0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286"/>
          <a:stretch/>
        </p:blipFill>
        <p:spPr bwMode="auto">
          <a:xfrm>
            <a:off x="1078469" y="2058858"/>
            <a:ext cx="10153650" cy="2170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1" name="Прямоугольник 30"/>
              <p:cNvSpPr/>
              <p:nvPr/>
            </p:nvSpPr>
            <p:spPr>
              <a:xfrm>
                <a:off x="1314733" y="4379220"/>
                <a:ext cx="9841987" cy="15696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2400" dirty="0" smtClean="0"/>
                  <a:t>Из </a:t>
                </a:r>
                <a:r>
                  <a:rPr lang="ru-RU" sz="2400" dirty="0"/>
                  <a:t>1 кг </a:t>
                </a:r>
                <a:r>
                  <a:rPr lang="ru-RU" sz="2400" dirty="0" smtClean="0"/>
                  <a:t>получится </a:t>
                </a:r>
                <a:r>
                  <a:rPr lang="ru-RU" sz="2400" dirty="0"/>
                  <a:t>400 г </a:t>
                </a:r>
                <a:r>
                  <a:rPr lang="ru-RU" sz="2400" dirty="0" smtClean="0"/>
                  <a:t>сока, то есть 2 стакана по 200 г.</a:t>
                </a:r>
              </a:p>
              <a:p>
                <a:r>
                  <a:rPr lang="ru-RU" sz="2400" dirty="0" smtClean="0"/>
                  <a:t>Надо получить 4 стакана, то есть </a:t>
                </a:r>
                <a14:m>
                  <m:oMath xmlns:m="http://schemas.openxmlformats.org/officeDocument/2006/math">
                    <m:r>
                      <a:rPr lang="ru-RU" sz="2400" i="1" dirty="0">
                        <a:latin typeface="Cambria Math"/>
                      </a:rPr>
                      <m:t>200</m:t>
                    </m:r>
                    <m:r>
                      <a:rPr lang="ru-RU" sz="2400" i="1" dirty="0">
                        <a:latin typeface="Cambria Math"/>
                        <a:ea typeface="Cambria Math"/>
                      </a:rPr>
                      <m:t>∙</m:t>
                    </m:r>
                    <m:r>
                      <a:rPr lang="ru-RU" sz="2400" i="1" dirty="0">
                        <a:latin typeface="Cambria Math"/>
                      </a:rPr>
                      <m:t>4 = 800</m:t>
                    </m:r>
                  </m:oMath>
                </a14:m>
                <a:r>
                  <a:rPr lang="ru-RU" sz="2400" dirty="0" smtClean="0"/>
                  <a:t> (г) сока</a:t>
                </a:r>
                <a:endParaRPr lang="ru-RU" sz="2400" dirty="0"/>
              </a:p>
              <a:p>
                <a:r>
                  <a:rPr lang="ru-RU" sz="2400" dirty="0" smtClean="0"/>
                  <a:t>Если </a:t>
                </a:r>
                <a:r>
                  <a:rPr lang="ru-RU" sz="2400" dirty="0"/>
                  <a:t>из одного килограмма апельсинов </a:t>
                </a:r>
                <a:r>
                  <a:rPr lang="ru-RU" sz="2400" dirty="0" smtClean="0"/>
                  <a:t>получается 400 </a:t>
                </a:r>
                <a:r>
                  <a:rPr lang="ru-RU" sz="2400" dirty="0"/>
                  <a:t>г сока, </a:t>
                </a:r>
                <a:endParaRPr lang="ru-RU" sz="2400" dirty="0" smtClean="0"/>
              </a:p>
              <a:p>
                <a:r>
                  <a:rPr lang="ru-RU" sz="2400" dirty="0" smtClean="0"/>
                  <a:t>то </a:t>
                </a:r>
                <a:r>
                  <a:rPr lang="ru-RU" sz="2400" dirty="0"/>
                  <a:t>для получения 800 г нужно 2 кг </a:t>
                </a:r>
                <a:r>
                  <a:rPr lang="ru-RU" sz="2400" dirty="0" smtClean="0"/>
                  <a:t>апельсинов.</a:t>
                </a:r>
                <a:endParaRPr lang="ru-RU" sz="2400" dirty="0"/>
              </a:p>
            </p:txBody>
          </p:sp>
        </mc:Choice>
        <mc:Fallback xmlns="">
          <p:sp>
            <p:nvSpPr>
              <p:cNvPr id="31" name="Прямоугольник 3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14733" y="4379220"/>
                <a:ext cx="9841987" cy="1569660"/>
              </a:xfrm>
              <a:prstGeom prst="rect">
                <a:avLst/>
              </a:prstGeom>
              <a:blipFill rotWithShape="1">
                <a:blip r:embed="rId4"/>
                <a:stretch>
                  <a:fillRect l="-991" t="-3101" b="-775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56597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53355" y="124883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0" b="1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Международная оценка качества образования</a:t>
            </a:r>
            <a:endParaRPr lang="ru-RU" sz="2130" b="1" spc="-20" dirty="0">
              <a:solidFill>
                <a:srgbClr val="2D2B8D"/>
              </a:solidFill>
              <a:latin typeface="Open Sans Condensed Light" pitchFamily="34" charset="0"/>
              <a:ea typeface="Open Sans Condensed Light" pitchFamily="34" charset="0"/>
              <a:cs typeface="Open Sans Condensed Light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42900" y="980986"/>
            <a:ext cx="11591798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Концепция направления «математическая грамотность» исследования 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ISA-2022</a:t>
            </a:r>
            <a:endParaRPr 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Исследование 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PISA-2022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роверит математическую грамотность российских школьников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333375" y="1891516"/>
            <a:ext cx="11390052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В рамках исследования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PISA-2022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будет использоваться следующее определение:</a:t>
            </a: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 algn="just"/>
            <a:r>
              <a:rPr lang="ru-RU" sz="2400" i="1" dirty="0">
                <a:latin typeface="Arial" panose="020B0604020202020204" pitchFamily="34" charset="0"/>
                <a:cs typeface="Arial" panose="020B0604020202020204" pitchFamily="34" charset="0"/>
              </a:rPr>
              <a:t>Математическая грамотность – это способность человека мыслить математически, формулировать, применять и интерпретировать математику для решения задач в разнообразных практических контекстах. Она включает в себя понятия, процедуры и факты, а также инструменты для описания, объяснения и предсказания явлений. Она помогает людям понять роль математики в мире, высказывать хорошо обоснованные суждения и принимать решения, которые должны принимать конструктивные, активные и размышляющие граждане в 21 веке».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517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-4216" y="6616876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933381" y="183397"/>
            <a:ext cx="53567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/>
              <a:t>Выполняем, проверяем и оцениваем задания</a:t>
            </a:r>
            <a:endParaRPr lang="ru-RU" sz="20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165451" y="1104751"/>
            <a:ext cx="113882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Взвешивание </a:t>
            </a:r>
            <a:r>
              <a:rPr lang="ru-RU" sz="2800" b="1" dirty="0" smtClean="0">
                <a:solidFill>
                  <a:srgbClr val="002060"/>
                </a:solidFill>
              </a:rPr>
              <a:t>фруктов</a:t>
            </a:r>
          </a:p>
          <a:p>
            <a:pPr algn="ctr"/>
            <a:r>
              <a:rPr lang="ru-RU" sz="2800" b="1" dirty="0" smtClean="0">
                <a:solidFill>
                  <a:srgbClr val="0070C0"/>
                </a:solidFill>
              </a:rPr>
              <a:t>ИТОГОВЫЕ </a:t>
            </a:r>
            <a:r>
              <a:rPr lang="ru-RU" sz="2800" b="1" dirty="0">
                <a:solidFill>
                  <a:srgbClr val="0070C0"/>
                </a:solidFill>
              </a:rPr>
              <a:t>ЗАДАНИЯ</a:t>
            </a:r>
            <a:endParaRPr lang="ru-RU" sz="2800" b="1" dirty="0">
              <a:solidFill>
                <a:srgbClr val="0070C0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286"/>
          <a:stretch/>
        </p:blipFill>
        <p:spPr bwMode="auto">
          <a:xfrm>
            <a:off x="1078469" y="2058858"/>
            <a:ext cx="10153650" cy="2170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1" name="Прямоугольник 30"/>
              <p:cNvSpPr/>
              <p:nvPr/>
            </p:nvSpPr>
            <p:spPr>
              <a:xfrm>
                <a:off x="165451" y="4664228"/>
                <a:ext cx="6365978" cy="132343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2000" dirty="0" smtClean="0"/>
                  <a:t>Из </a:t>
                </a:r>
                <a:r>
                  <a:rPr lang="ru-RU" sz="2000" dirty="0"/>
                  <a:t>1 кг </a:t>
                </a:r>
                <a:r>
                  <a:rPr lang="ru-RU" sz="2000" dirty="0" smtClean="0"/>
                  <a:t>получится </a:t>
                </a:r>
                <a:r>
                  <a:rPr lang="ru-RU" sz="2000" dirty="0"/>
                  <a:t>400 г </a:t>
                </a:r>
                <a:r>
                  <a:rPr lang="ru-RU" sz="2000" dirty="0" smtClean="0"/>
                  <a:t>сока, то есть 2 стакана по 200 г.</a:t>
                </a:r>
              </a:p>
              <a:p>
                <a:r>
                  <a:rPr lang="ru-RU" sz="2000" dirty="0" smtClean="0"/>
                  <a:t>Надо получить 4 стакана, то есть </a:t>
                </a:r>
                <a14:m>
                  <m:oMath xmlns:m="http://schemas.openxmlformats.org/officeDocument/2006/math">
                    <m:r>
                      <a:rPr lang="ru-RU" sz="2000" i="1" dirty="0">
                        <a:latin typeface="Cambria Math"/>
                      </a:rPr>
                      <m:t>200</m:t>
                    </m:r>
                    <m:r>
                      <a:rPr lang="ru-RU" sz="2000" i="1" dirty="0">
                        <a:latin typeface="Cambria Math"/>
                        <a:ea typeface="Cambria Math"/>
                      </a:rPr>
                      <m:t>∙</m:t>
                    </m:r>
                    <m:r>
                      <a:rPr lang="ru-RU" sz="2000" i="1" dirty="0">
                        <a:latin typeface="Cambria Math"/>
                      </a:rPr>
                      <m:t>4 = 800</m:t>
                    </m:r>
                  </m:oMath>
                </a14:m>
                <a:r>
                  <a:rPr lang="ru-RU" sz="2000" dirty="0" smtClean="0"/>
                  <a:t> (г) сока</a:t>
                </a:r>
                <a:endParaRPr lang="ru-RU" sz="2000" dirty="0"/>
              </a:p>
              <a:p>
                <a:r>
                  <a:rPr lang="ru-RU" sz="2000" dirty="0" smtClean="0"/>
                  <a:t>Если </a:t>
                </a:r>
                <a:r>
                  <a:rPr lang="ru-RU" sz="2000" dirty="0"/>
                  <a:t>из одного килограмма апельсинов </a:t>
                </a:r>
                <a:r>
                  <a:rPr lang="ru-RU" sz="2000" dirty="0" smtClean="0"/>
                  <a:t>получается 400 </a:t>
                </a:r>
                <a:r>
                  <a:rPr lang="ru-RU" sz="2000" dirty="0"/>
                  <a:t>г сока, </a:t>
                </a:r>
                <a:r>
                  <a:rPr lang="ru-RU" sz="2000" dirty="0" smtClean="0"/>
                  <a:t>то </a:t>
                </a:r>
                <a:r>
                  <a:rPr lang="ru-RU" sz="2000" dirty="0"/>
                  <a:t>для получения 800 г нужно 2 кг </a:t>
                </a:r>
                <a:r>
                  <a:rPr lang="ru-RU" sz="2000" dirty="0" smtClean="0"/>
                  <a:t>апельсинов.</a:t>
                </a:r>
                <a:endParaRPr lang="ru-RU" sz="2000" dirty="0"/>
              </a:p>
            </p:txBody>
          </p:sp>
        </mc:Choice>
        <mc:Fallback xmlns="">
          <p:sp>
            <p:nvSpPr>
              <p:cNvPr id="31" name="Прямоугольник 3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5451" y="4664228"/>
                <a:ext cx="6365978" cy="1323439"/>
              </a:xfrm>
              <a:prstGeom prst="rect">
                <a:avLst/>
              </a:prstGeom>
              <a:blipFill rotWithShape="1">
                <a:blip r:embed="rId4"/>
                <a:stretch>
                  <a:fillRect l="-958" t="-2304" r="-1437" b="-737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4897250"/>
              </p:ext>
            </p:extLst>
          </p:nvPr>
        </p:nvGraphicFramePr>
        <p:xfrm>
          <a:off x="6635279" y="4411547"/>
          <a:ext cx="5357705" cy="182880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0905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937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34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1" i="0" u="none" strike="noStrike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№ задания</a:t>
                      </a:r>
                      <a:endParaRPr lang="ru-RU" sz="18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i="0" u="none" strike="noStrike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Оценка ответа</a:t>
                      </a:r>
                      <a:endParaRPr lang="ru-RU" sz="18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rgbClr val="002060"/>
                          </a:solidFill>
                        </a:rPr>
                        <a:t>Баллы</a:t>
                      </a:r>
                      <a:endParaRPr lang="ru-RU" sz="18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002060"/>
                          </a:solidFill>
                        </a:rPr>
                        <a:t>3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балл </a:t>
                      </a:r>
                      <a:r>
                        <a:rPr lang="ru-RU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— дан ответ «2000 г», или «2 кг»;</a:t>
                      </a:r>
                    </a:p>
                    <a:p>
                      <a:r>
                        <a:rPr lang="ru-RU" sz="18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 баллов </a:t>
                      </a:r>
                      <a:r>
                        <a:rPr lang="ru-RU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— дан другой ответ ИЛИ ответ отсутствует.</a:t>
                      </a:r>
                      <a:endParaRPr lang="ru-RU" sz="1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7" name="Прямоугольник 26"/>
          <p:cNvSpPr/>
          <p:nvPr/>
        </p:nvSpPr>
        <p:spPr>
          <a:xfrm>
            <a:off x="244876" y="5987667"/>
            <a:ext cx="552283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70C0"/>
                </a:solidFill>
              </a:rPr>
              <a:t>Ответ.</a:t>
            </a:r>
            <a:r>
              <a:rPr lang="ru-RU" sz="2000" dirty="0" smtClean="0"/>
              <a:t> 2 кг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884551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-4216" y="6616876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933381" y="183397"/>
            <a:ext cx="53567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/>
              <a:t>Выполняем, проверяем и оцениваем задания</a:t>
            </a:r>
            <a:endParaRPr lang="ru-RU" sz="20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137829" y="990249"/>
            <a:ext cx="113882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Взвешивание </a:t>
            </a:r>
            <a:r>
              <a:rPr lang="ru-RU" sz="2800" b="1" dirty="0" smtClean="0">
                <a:solidFill>
                  <a:srgbClr val="002060"/>
                </a:solidFill>
              </a:rPr>
              <a:t>фруктов</a:t>
            </a:r>
          </a:p>
          <a:p>
            <a:pPr algn="ctr"/>
            <a:r>
              <a:rPr lang="ru-RU" sz="2800" b="1" dirty="0">
                <a:solidFill>
                  <a:srgbClr val="0070C0"/>
                </a:solidFill>
              </a:rPr>
              <a:t>СОСТАВЬТЕ СВОЁ ЗАДАНИЕ</a:t>
            </a:r>
            <a:endParaRPr lang="ru-RU" sz="2800" b="1" dirty="0">
              <a:solidFill>
                <a:srgbClr val="0070C0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73259"/>
          <a:stretch/>
        </p:blipFill>
        <p:spPr bwMode="auto">
          <a:xfrm>
            <a:off x="2179181" y="1944356"/>
            <a:ext cx="7967830" cy="792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467" t="32731" r="29424"/>
          <a:stretch/>
        </p:blipFill>
        <p:spPr bwMode="auto">
          <a:xfrm>
            <a:off x="8856897" y="3493914"/>
            <a:ext cx="3275464" cy="1992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57261"/>
          <a:stretch/>
        </p:blipFill>
        <p:spPr bwMode="auto">
          <a:xfrm>
            <a:off x="-4216" y="3009419"/>
            <a:ext cx="4400828" cy="2224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1509"/>
          <a:stretch/>
        </p:blipFill>
        <p:spPr bwMode="auto">
          <a:xfrm>
            <a:off x="4504411" y="3009419"/>
            <a:ext cx="4280986" cy="2961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7155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зада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90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463" y="2463980"/>
            <a:ext cx="5784560" cy="264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07849" y="2704237"/>
            <a:ext cx="554421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1</a:t>
            </a:r>
          </a:p>
          <a:p>
            <a:r>
              <a:rPr lang="ru-RU" dirty="0"/>
              <a:t>Однако Игорь и Максим задали себе дополнительный вопрос</a:t>
            </a:r>
            <a:r>
              <a:rPr lang="ru-RU" dirty="0" smtClean="0"/>
              <a:t>: какова </a:t>
            </a:r>
            <a:r>
              <a:rPr lang="ru-RU" dirty="0"/>
              <a:t>вероятность, что первому обратившемуся к ним </a:t>
            </a:r>
            <a:r>
              <a:rPr lang="ru-RU" dirty="0" smtClean="0"/>
              <a:t>покупателю</a:t>
            </a:r>
            <a:r>
              <a:rPr lang="ru-RU" dirty="0"/>
              <a:t>, они предложат модель 3 в первую очередь?</a:t>
            </a:r>
          </a:p>
        </p:txBody>
      </p:sp>
      <p:pic>
        <p:nvPicPr>
          <p:cNvPr id="12390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352" y="4266232"/>
            <a:ext cx="4878667" cy="68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5287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зада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90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463" y="2463980"/>
            <a:ext cx="5784560" cy="264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07849" y="2704237"/>
            <a:ext cx="554421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1</a:t>
            </a:r>
          </a:p>
          <a:p>
            <a:r>
              <a:rPr lang="ru-RU" dirty="0"/>
              <a:t>Однако Игорь и Максим задали себе дополнительный вопрос</a:t>
            </a:r>
            <a:r>
              <a:rPr lang="ru-RU" dirty="0" smtClean="0"/>
              <a:t>: какова </a:t>
            </a:r>
            <a:r>
              <a:rPr lang="ru-RU" dirty="0"/>
              <a:t>вероятность, что первому обратившемуся к ним </a:t>
            </a:r>
            <a:r>
              <a:rPr lang="ru-RU" dirty="0" smtClean="0"/>
              <a:t>покупателю</a:t>
            </a:r>
            <a:r>
              <a:rPr lang="ru-RU" dirty="0"/>
              <a:t>, они предложат модель 3 в первую очередь?</a:t>
            </a:r>
          </a:p>
        </p:txBody>
      </p:sp>
      <p:pic>
        <p:nvPicPr>
          <p:cNvPr id="12390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352" y="4266232"/>
            <a:ext cx="4878667" cy="68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Прямоугольник 41"/>
          <p:cNvSpPr/>
          <p:nvPr/>
        </p:nvSpPr>
        <p:spPr>
          <a:xfrm>
            <a:off x="350740" y="5062604"/>
            <a:ext cx="266339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 smtClean="0"/>
              <a:t>Всего 40 принтеров.</a:t>
            </a:r>
          </a:p>
          <a:p>
            <a:r>
              <a:rPr lang="ru-RU" dirty="0" smtClean="0"/>
              <a:t>8 принтеров модели 3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8843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зада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90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463" y="2463980"/>
            <a:ext cx="5784560" cy="264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07849" y="2704237"/>
            <a:ext cx="554421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1</a:t>
            </a:r>
          </a:p>
          <a:p>
            <a:r>
              <a:rPr lang="ru-RU" dirty="0"/>
              <a:t>Однако Игорь и Максим задали себе дополнительный вопрос</a:t>
            </a:r>
            <a:r>
              <a:rPr lang="ru-RU" dirty="0" smtClean="0"/>
              <a:t>: какова </a:t>
            </a:r>
            <a:r>
              <a:rPr lang="ru-RU" dirty="0"/>
              <a:t>вероятность, что первому обратившемуся к ним </a:t>
            </a:r>
            <a:r>
              <a:rPr lang="ru-RU" dirty="0" smtClean="0"/>
              <a:t>покупателю</a:t>
            </a:r>
            <a:r>
              <a:rPr lang="ru-RU" dirty="0"/>
              <a:t>, они предложат модель 3 в первую очередь?</a:t>
            </a:r>
          </a:p>
        </p:txBody>
      </p:sp>
      <p:pic>
        <p:nvPicPr>
          <p:cNvPr id="12390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352" y="4266232"/>
            <a:ext cx="4878667" cy="68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Прямоугольник 41"/>
          <p:cNvSpPr/>
          <p:nvPr/>
        </p:nvSpPr>
        <p:spPr>
          <a:xfrm>
            <a:off x="350740" y="5062604"/>
            <a:ext cx="266339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 smtClean="0"/>
              <a:t>Всего 40 принтеров.</a:t>
            </a:r>
          </a:p>
          <a:p>
            <a:r>
              <a:rPr lang="ru-RU" dirty="0" smtClean="0"/>
              <a:t>8 принтеров модели 3.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Прямоугольник 63"/>
              <p:cNvSpPr/>
              <p:nvPr/>
            </p:nvSpPr>
            <p:spPr>
              <a:xfrm>
                <a:off x="3288674" y="5277303"/>
                <a:ext cx="2663393" cy="63658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b="0" i="1" smtClean="0">
                              <a:latin typeface="Cambria Math"/>
                            </a:rPr>
                            <m:t>8</m:t>
                          </m:r>
                        </m:num>
                        <m:den>
                          <m:r>
                            <a:rPr lang="ru-RU" b="0" i="1" smtClean="0">
                              <a:latin typeface="Cambria Math"/>
                            </a:rPr>
                            <m:t>40</m:t>
                          </m:r>
                        </m:den>
                      </m:f>
                      <m:r>
                        <a:rPr lang="ru-RU" b="0" i="0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ru-RU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ru-RU" b="0" i="1" smtClean="0">
                              <a:latin typeface="Cambria Math"/>
                            </a:rPr>
                            <m:t>5</m:t>
                          </m:r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64" name="Прямоугольник 6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88674" y="5277303"/>
                <a:ext cx="2663393" cy="636585"/>
              </a:xfrm>
              <a:prstGeom prst="rect">
                <a:avLst/>
              </a:prstGeom>
              <a:blipFill rotWithShape="1"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25776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зада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90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463" y="2463980"/>
            <a:ext cx="5784560" cy="264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07849" y="2704237"/>
            <a:ext cx="554421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1</a:t>
            </a:r>
          </a:p>
          <a:p>
            <a:r>
              <a:rPr lang="ru-RU" dirty="0"/>
              <a:t>Однако Игорь и Максим задали себе дополнительный вопрос</a:t>
            </a:r>
            <a:r>
              <a:rPr lang="ru-RU" dirty="0" smtClean="0"/>
              <a:t>: какова </a:t>
            </a:r>
            <a:r>
              <a:rPr lang="ru-RU" dirty="0"/>
              <a:t>вероятность, что первому обратившемуся к ним </a:t>
            </a:r>
            <a:r>
              <a:rPr lang="ru-RU" dirty="0" smtClean="0"/>
              <a:t>покупателю</a:t>
            </a:r>
            <a:r>
              <a:rPr lang="ru-RU" dirty="0"/>
              <a:t>, они предложат модель 3 в первую очередь?</a:t>
            </a:r>
          </a:p>
        </p:txBody>
      </p:sp>
      <p:pic>
        <p:nvPicPr>
          <p:cNvPr id="12390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352" y="4266232"/>
            <a:ext cx="4878667" cy="68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Прямоугольник 41"/>
          <p:cNvSpPr/>
          <p:nvPr/>
        </p:nvSpPr>
        <p:spPr>
          <a:xfrm>
            <a:off x="350740" y="5062604"/>
            <a:ext cx="266339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 smtClean="0"/>
              <a:t>Всего 40 принтеров.</a:t>
            </a:r>
          </a:p>
          <a:p>
            <a:r>
              <a:rPr lang="ru-RU" dirty="0" smtClean="0"/>
              <a:t>8 принтеров модели 3.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Прямоугольник 63"/>
              <p:cNvSpPr/>
              <p:nvPr/>
            </p:nvSpPr>
            <p:spPr>
              <a:xfrm>
                <a:off x="3288674" y="5277303"/>
                <a:ext cx="2663393" cy="63658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b="0" i="1" smtClean="0">
                              <a:latin typeface="Cambria Math"/>
                            </a:rPr>
                            <m:t>8</m:t>
                          </m:r>
                        </m:num>
                        <m:den>
                          <m:r>
                            <a:rPr lang="ru-RU" b="0" i="1" smtClean="0">
                              <a:latin typeface="Cambria Math"/>
                            </a:rPr>
                            <m:t>40</m:t>
                          </m:r>
                        </m:den>
                      </m:f>
                      <m:r>
                        <a:rPr lang="ru-RU" b="0" i="0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ru-RU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b="0" i="1" smtClean="0">
                              <a:latin typeface="Cambria Math"/>
                            </a:rPr>
                            <m:t>1</m:t>
                          </m:r>
                        </m:num>
                        <m:den>
                          <m:r>
                            <a:rPr lang="ru-RU" b="0" i="1" smtClean="0">
                              <a:latin typeface="Cambria Math"/>
                            </a:rPr>
                            <m:t>5</m:t>
                          </m:r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64" name="Прямоугольник 6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88674" y="5277303"/>
                <a:ext cx="2663393" cy="636585"/>
              </a:xfrm>
              <a:prstGeom prst="rect">
                <a:avLst/>
              </a:prstGeom>
              <a:blipFill rotWithShape="1"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Овал 32"/>
          <p:cNvSpPr/>
          <p:nvPr/>
        </p:nvSpPr>
        <p:spPr>
          <a:xfrm rot="16200000">
            <a:off x="721881" y="4270136"/>
            <a:ext cx="395416" cy="1049443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3791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зада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2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Игорь и Максим справились и с задачей прогнозирования </a:t>
            </a:r>
            <a:r>
              <a:rPr lang="ru-RU" dirty="0" smtClean="0"/>
              <a:t>количества </a:t>
            </a:r>
            <a:r>
              <a:rPr lang="ru-RU" dirty="0"/>
              <a:t>менеджеров магазина через 7 лет при сохранении </a:t>
            </a:r>
            <a:r>
              <a:rPr lang="ru-RU" dirty="0" smtClean="0"/>
              <a:t>динамики роста </a:t>
            </a:r>
            <a:r>
              <a:rPr lang="ru-RU" dirty="0"/>
              <a:t>продаж. Из разговора с управляющим им стало известно</a:t>
            </a:r>
            <a:r>
              <a:rPr lang="ru-RU" dirty="0" smtClean="0"/>
              <a:t>, что </a:t>
            </a:r>
            <a:r>
              <a:rPr lang="ru-RU" dirty="0"/>
              <a:t>ежегодно с увеличением числа продаж количество </a:t>
            </a:r>
            <a:r>
              <a:rPr lang="ru-RU" dirty="0" smtClean="0"/>
              <a:t>менеджеров магазина </a:t>
            </a:r>
            <a:r>
              <a:rPr lang="ru-RU" dirty="0"/>
              <a:t>увеличивается на 2, а в первый год в магазине </a:t>
            </a:r>
            <a:r>
              <a:rPr lang="ru-RU" dirty="0" smtClean="0"/>
              <a:t>работало 4 </a:t>
            </a:r>
            <a:r>
              <a:rPr lang="ru-RU" dirty="0"/>
              <a:t>менеджера. Ребята составили арифметическую прогрессию, с </a:t>
            </a:r>
            <a:r>
              <a:rPr lang="ru-RU" dirty="0" smtClean="0"/>
              <a:t>помощью </a:t>
            </a:r>
            <a:r>
              <a:rPr lang="ru-RU" dirty="0"/>
              <a:t>которой быстро нашли ответ. Как выглядит </a:t>
            </a:r>
            <a:r>
              <a:rPr lang="ru-RU" dirty="0" smtClean="0"/>
              <a:t>составленная ими </a:t>
            </a:r>
            <a:r>
              <a:rPr lang="ru-RU" dirty="0"/>
              <a:t>арифметическая прогрессия?</a:t>
            </a:r>
          </a:p>
        </p:txBody>
      </p:sp>
    </p:spTree>
    <p:extLst>
      <p:ext uri="{BB962C8B-B14F-4D97-AF65-F5344CB8AC3E}">
        <p14:creationId xmlns:p14="http://schemas.microsoft.com/office/powerpoint/2010/main" val="1405077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зада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2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Игорь и Максим справились и с задачей прогнозирования </a:t>
            </a:r>
            <a:r>
              <a:rPr lang="ru-RU" dirty="0" smtClean="0"/>
              <a:t>количества </a:t>
            </a:r>
            <a:r>
              <a:rPr lang="ru-RU" dirty="0"/>
              <a:t>менеджеров магазина через 7 лет при сохранении </a:t>
            </a:r>
            <a:r>
              <a:rPr lang="ru-RU" dirty="0" smtClean="0"/>
              <a:t>динамики роста </a:t>
            </a:r>
            <a:r>
              <a:rPr lang="ru-RU" dirty="0"/>
              <a:t>продаж. Из разговора с управляющим им стало известно</a:t>
            </a:r>
            <a:r>
              <a:rPr lang="ru-RU" dirty="0" smtClean="0"/>
              <a:t>, что </a:t>
            </a:r>
            <a:r>
              <a:rPr lang="ru-RU" dirty="0"/>
              <a:t>ежегодно с увеличением числа продаж количество </a:t>
            </a:r>
            <a:r>
              <a:rPr lang="ru-RU" dirty="0" smtClean="0"/>
              <a:t>менеджеров магазина </a:t>
            </a:r>
            <a:r>
              <a:rPr lang="ru-RU" dirty="0"/>
              <a:t>увеличивается на 2, а в первый год в магазине </a:t>
            </a:r>
            <a:r>
              <a:rPr lang="ru-RU" dirty="0" smtClean="0"/>
              <a:t>работало 4 </a:t>
            </a:r>
            <a:r>
              <a:rPr lang="ru-RU" dirty="0"/>
              <a:t>менеджера. Ребята составили арифметическую прогрессию, с </a:t>
            </a:r>
            <a:r>
              <a:rPr lang="ru-RU" dirty="0" smtClean="0"/>
              <a:t>помощью </a:t>
            </a:r>
            <a:r>
              <a:rPr lang="ru-RU" dirty="0"/>
              <a:t>которой быстро нашли ответ. Как выглядит </a:t>
            </a:r>
            <a:r>
              <a:rPr lang="ru-RU" dirty="0" smtClean="0"/>
              <a:t>составленная ими </a:t>
            </a:r>
            <a:r>
              <a:rPr lang="ru-RU" dirty="0"/>
              <a:t>арифметическая прогрессия?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9366463" y="3522314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 flipV="1">
            <a:off x="1842500" y="3759381"/>
            <a:ext cx="5303367" cy="859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7444530" y="3759381"/>
            <a:ext cx="1259203" cy="1736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9822498" y="3777367"/>
            <a:ext cx="1259203" cy="1736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451032" y="4040271"/>
            <a:ext cx="119024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4142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8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зада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2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Игорь и Максим справились и с задачей прогнозирования </a:t>
            </a:r>
            <a:r>
              <a:rPr lang="ru-RU" dirty="0" smtClean="0"/>
              <a:t>количества </a:t>
            </a:r>
            <a:r>
              <a:rPr lang="ru-RU" dirty="0"/>
              <a:t>менеджеров магазина через 7 лет при сохранении </a:t>
            </a:r>
            <a:r>
              <a:rPr lang="ru-RU" dirty="0" smtClean="0"/>
              <a:t>динамики роста </a:t>
            </a:r>
            <a:r>
              <a:rPr lang="ru-RU" dirty="0"/>
              <a:t>продаж. Из разговора с управляющим им стало известно</a:t>
            </a:r>
            <a:r>
              <a:rPr lang="ru-RU" dirty="0" smtClean="0"/>
              <a:t>, что </a:t>
            </a:r>
            <a:r>
              <a:rPr lang="ru-RU" dirty="0"/>
              <a:t>ежегодно с увеличением числа продаж количество </a:t>
            </a:r>
            <a:r>
              <a:rPr lang="ru-RU" dirty="0" smtClean="0"/>
              <a:t>менеджеров магазина </a:t>
            </a:r>
            <a:r>
              <a:rPr lang="ru-RU" dirty="0"/>
              <a:t>увеличивается на 2, а в первый год в магазине </a:t>
            </a:r>
            <a:r>
              <a:rPr lang="ru-RU" dirty="0" smtClean="0"/>
              <a:t>работало 4 </a:t>
            </a:r>
            <a:r>
              <a:rPr lang="ru-RU" dirty="0"/>
              <a:t>менеджера. Ребята составили арифметическую прогрессию, с </a:t>
            </a:r>
            <a:r>
              <a:rPr lang="ru-RU" dirty="0" smtClean="0"/>
              <a:t>помощью </a:t>
            </a:r>
            <a:r>
              <a:rPr lang="ru-RU" dirty="0"/>
              <a:t>которой быстро нашли ответ. Как выглядит </a:t>
            </a:r>
            <a:r>
              <a:rPr lang="ru-RU" dirty="0" smtClean="0"/>
              <a:t>составленная ими </a:t>
            </a:r>
            <a:r>
              <a:rPr lang="ru-RU" dirty="0"/>
              <a:t>арифметическая прогрессия?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9366463" y="3522314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 flipV="1">
            <a:off x="1842500" y="3759381"/>
            <a:ext cx="5303367" cy="859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7444530" y="3759381"/>
            <a:ext cx="1259203" cy="1736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9822498" y="3777367"/>
            <a:ext cx="1259203" cy="1736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451032" y="4040271"/>
            <a:ext cx="119024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Прямоугольник 38"/>
              <p:cNvSpPr/>
              <p:nvPr/>
            </p:nvSpPr>
            <p:spPr>
              <a:xfrm>
                <a:off x="461734" y="4432881"/>
                <a:ext cx="2682824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b="1" dirty="0" smtClean="0">
                    <a:solidFill>
                      <a:srgbClr val="2F5597"/>
                    </a:solidFill>
                  </a:rPr>
                  <a:t>Решение</a:t>
                </a:r>
                <a:endParaRPr lang="en-US" b="1" dirty="0" smtClean="0">
                  <a:solidFill>
                    <a:srgbClr val="2F5597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4</m:t>
                      </m:r>
                    </m:oMath>
                  </m:oMathPara>
                </a14:m>
                <a:endParaRPr lang="en-US" b="0" dirty="0" smtClean="0">
                  <a:solidFill>
                    <a:schemeClr val="tx1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𝑑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2</m:t>
                      </m:r>
                    </m:oMath>
                  </m:oMathPara>
                </a14:m>
                <a:endParaRPr lang="ru-RU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9" name="Прямоугольник 3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734" y="4432881"/>
                <a:ext cx="2682824" cy="923330"/>
              </a:xfrm>
              <a:prstGeom prst="rect">
                <a:avLst/>
              </a:prstGeom>
              <a:blipFill rotWithShape="1">
                <a:blip r:embed="rId6"/>
                <a:stretch>
                  <a:fillRect l="-2045" t="-328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0" name="Прямая соединительная линия 39"/>
          <p:cNvCxnSpPr/>
          <p:nvPr/>
        </p:nvCxnSpPr>
        <p:spPr>
          <a:xfrm flipV="1">
            <a:off x="4424833" y="3225981"/>
            <a:ext cx="6277034" cy="859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2177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9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зада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2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Игорь и Максим справились и с задачей прогнозирования </a:t>
            </a:r>
            <a:r>
              <a:rPr lang="ru-RU" dirty="0" smtClean="0"/>
              <a:t>количества </a:t>
            </a:r>
            <a:r>
              <a:rPr lang="ru-RU" dirty="0"/>
              <a:t>менеджеров магазина через 7 лет при сохранении </a:t>
            </a:r>
            <a:r>
              <a:rPr lang="ru-RU" dirty="0" smtClean="0"/>
              <a:t>динамики роста </a:t>
            </a:r>
            <a:r>
              <a:rPr lang="ru-RU" dirty="0"/>
              <a:t>продаж. Из разговора с управляющим им стало известно</a:t>
            </a:r>
            <a:r>
              <a:rPr lang="ru-RU" dirty="0" smtClean="0"/>
              <a:t>, что </a:t>
            </a:r>
            <a:r>
              <a:rPr lang="ru-RU" dirty="0"/>
              <a:t>ежегодно с увеличением числа продаж количество </a:t>
            </a:r>
            <a:r>
              <a:rPr lang="ru-RU" dirty="0" smtClean="0"/>
              <a:t>менеджеров магазина </a:t>
            </a:r>
            <a:r>
              <a:rPr lang="ru-RU" dirty="0"/>
              <a:t>увеличивается на 2, а в первый год в магазине </a:t>
            </a:r>
            <a:r>
              <a:rPr lang="ru-RU" dirty="0" smtClean="0"/>
              <a:t>работало 4 </a:t>
            </a:r>
            <a:r>
              <a:rPr lang="ru-RU" dirty="0"/>
              <a:t>менеджера. Ребята составили арифметическую прогрессию, с </a:t>
            </a:r>
            <a:r>
              <a:rPr lang="ru-RU" dirty="0" smtClean="0"/>
              <a:t>помощью </a:t>
            </a:r>
            <a:r>
              <a:rPr lang="ru-RU" dirty="0"/>
              <a:t>которой быстро нашли ответ. Как выглядит </a:t>
            </a:r>
            <a:r>
              <a:rPr lang="ru-RU" dirty="0" smtClean="0"/>
              <a:t>составленная ими </a:t>
            </a:r>
            <a:r>
              <a:rPr lang="ru-RU" dirty="0"/>
              <a:t>арифметическая прогрессия?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9366463" y="3522314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 flipV="1">
            <a:off x="1842500" y="3759381"/>
            <a:ext cx="5303367" cy="859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7444530" y="3759381"/>
            <a:ext cx="1259203" cy="1736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9822498" y="3777367"/>
            <a:ext cx="1259203" cy="1736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451032" y="4040271"/>
            <a:ext cx="119024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Прямоугольник 38"/>
              <p:cNvSpPr/>
              <p:nvPr/>
            </p:nvSpPr>
            <p:spPr>
              <a:xfrm>
                <a:off x="461734" y="4432881"/>
                <a:ext cx="2682824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b="1" dirty="0" smtClean="0">
                    <a:solidFill>
                      <a:srgbClr val="2F5597"/>
                    </a:solidFill>
                  </a:rPr>
                  <a:t>Решение</a:t>
                </a:r>
                <a:endParaRPr lang="en-US" b="1" dirty="0" smtClean="0">
                  <a:solidFill>
                    <a:srgbClr val="2F5597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4</m:t>
                      </m:r>
                    </m:oMath>
                  </m:oMathPara>
                </a14:m>
                <a:endParaRPr lang="en-US" b="0" dirty="0" smtClean="0">
                  <a:solidFill>
                    <a:schemeClr val="tx1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𝑑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2</m:t>
                      </m:r>
                    </m:oMath>
                  </m:oMathPara>
                </a14:m>
                <a:endParaRPr lang="ru-RU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9" name="Прямоугольник 3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734" y="4432881"/>
                <a:ext cx="2682824" cy="923330"/>
              </a:xfrm>
              <a:prstGeom prst="rect">
                <a:avLst/>
              </a:prstGeom>
              <a:blipFill rotWithShape="1">
                <a:blip r:embed="rId6"/>
                <a:stretch>
                  <a:fillRect l="-2045" t="-328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0" name="Прямая соединительная линия 39"/>
          <p:cNvCxnSpPr/>
          <p:nvPr/>
        </p:nvCxnSpPr>
        <p:spPr>
          <a:xfrm flipV="1">
            <a:off x="4424833" y="3225981"/>
            <a:ext cx="6277034" cy="859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Прямоугольник 40"/>
              <p:cNvSpPr/>
              <p:nvPr/>
            </p:nvSpPr>
            <p:spPr>
              <a:xfrm>
                <a:off x="3152771" y="4432881"/>
                <a:ext cx="2682824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endParaRPr lang="en-US" b="1" dirty="0" smtClean="0">
                  <a:solidFill>
                    <a:srgbClr val="2F5597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𝑛</m:t>
                          </m:r>
                        </m:sub>
                      </m:sSub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𝑑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𝑛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1)</m:t>
                      </m:r>
                    </m:oMath>
                  </m:oMathPara>
                </a14:m>
                <a:endParaRPr lang="en-US" b="0" dirty="0" smtClean="0">
                  <a:solidFill>
                    <a:schemeClr val="tx1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7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b="0" i="1" smtClean="0">
                          <a:latin typeface="Cambria Math"/>
                        </a:rPr>
                        <m:t>4</m:t>
                      </m:r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2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∙6=16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1" name="Прямоугольник 4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2771" y="4432881"/>
                <a:ext cx="2682824" cy="923330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26054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53355" y="124883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0" b="1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Международная оценка качества образования</a:t>
            </a:r>
            <a:endParaRPr lang="ru-RU" sz="2130" b="1" spc="-20" dirty="0">
              <a:solidFill>
                <a:srgbClr val="2D2B8D"/>
              </a:solidFill>
              <a:latin typeface="Open Sans Condensed Light" pitchFamily="34" charset="0"/>
              <a:ea typeface="Open Sans Condensed Light" pitchFamily="34" charset="0"/>
              <a:cs typeface="Open Sans Condensed Light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342900" y="990600"/>
            <a:ext cx="11591798" cy="1000125"/>
          </a:xfrm>
        </p:spPr>
        <p:txBody>
          <a:bodyPr>
            <a:normAutofit/>
          </a:bodyPr>
          <a:lstStyle/>
          <a:p>
            <a:pPr marL="54864" algn="ctr" eaLnBrk="1" fontAlgn="auto" hangingPunct="1">
              <a:spcAft>
                <a:spcPts val="0"/>
              </a:spcAft>
              <a:defRPr/>
            </a:pPr>
            <a:r>
              <a:rPr lang="ru-RU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 математической грамотности. </a:t>
            </a:r>
            <a:r>
              <a:rPr lang="en-US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3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3"/>
          <a:srcRect t="15981"/>
          <a:stretch/>
        </p:blipFill>
        <p:spPr>
          <a:xfrm>
            <a:off x="848015" y="2251880"/>
            <a:ext cx="10620783" cy="3326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748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0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зада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2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Игорь и Максим справились и с задачей прогнозирования </a:t>
            </a:r>
            <a:r>
              <a:rPr lang="ru-RU" dirty="0" smtClean="0"/>
              <a:t>количества </a:t>
            </a:r>
            <a:r>
              <a:rPr lang="ru-RU" dirty="0"/>
              <a:t>менеджеров магазина через 7 лет при сохранении </a:t>
            </a:r>
            <a:r>
              <a:rPr lang="ru-RU" dirty="0" smtClean="0"/>
              <a:t>динамики роста </a:t>
            </a:r>
            <a:r>
              <a:rPr lang="ru-RU" dirty="0"/>
              <a:t>продаж. Из разговора с управляющим им стало известно</a:t>
            </a:r>
            <a:r>
              <a:rPr lang="ru-RU" dirty="0" smtClean="0"/>
              <a:t>, что </a:t>
            </a:r>
            <a:r>
              <a:rPr lang="ru-RU" dirty="0"/>
              <a:t>ежегодно с увеличением числа продаж количество </a:t>
            </a:r>
            <a:r>
              <a:rPr lang="ru-RU" dirty="0" smtClean="0"/>
              <a:t>менеджеров магазина </a:t>
            </a:r>
            <a:r>
              <a:rPr lang="ru-RU" dirty="0"/>
              <a:t>увеличивается на 2, а в первый год в магазине </a:t>
            </a:r>
            <a:r>
              <a:rPr lang="ru-RU" dirty="0" smtClean="0"/>
              <a:t>работало 4 </a:t>
            </a:r>
            <a:r>
              <a:rPr lang="ru-RU" dirty="0"/>
              <a:t>менеджера. Ребята составили арифметическую прогрессию, с </a:t>
            </a:r>
            <a:r>
              <a:rPr lang="ru-RU" dirty="0" smtClean="0"/>
              <a:t>помощью </a:t>
            </a:r>
            <a:r>
              <a:rPr lang="ru-RU" dirty="0"/>
              <a:t>которой быстро нашли ответ. Как выглядит </a:t>
            </a:r>
            <a:r>
              <a:rPr lang="ru-RU" dirty="0" smtClean="0"/>
              <a:t>составленная ими </a:t>
            </a:r>
            <a:r>
              <a:rPr lang="ru-RU" dirty="0"/>
              <a:t>арифметическая прогрессия?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9366463" y="3522314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 flipV="1">
            <a:off x="1842500" y="3759381"/>
            <a:ext cx="5303367" cy="859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7444530" y="3759381"/>
            <a:ext cx="1259203" cy="1736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9822498" y="3777367"/>
            <a:ext cx="1259203" cy="1736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451032" y="4040271"/>
            <a:ext cx="119024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Прямоугольник 38"/>
              <p:cNvSpPr/>
              <p:nvPr/>
            </p:nvSpPr>
            <p:spPr>
              <a:xfrm>
                <a:off x="461734" y="4432881"/>
                <a:ext cx="2682824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b="1" dirty="0" smtClean="0">
                    <a:solidFill>
                      <a:srgbClr val="2F5597"/>
                    </a:solidFill>
                  </a:rPr>
                  <a:t>Решение</a:t>
                </a:r>
                <a:endParaRPr lang="en-US" b="1" dirty="0" smtClean="0">
                  <a:solidFill>
                    <a:srgbClr val="2F5597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4</m:t>
                      </m:r>
                    </m:oMath>
                  </m:oMathPara>
                </a14:m>
                <a:endParaRPr lang="en-US" b="0" dirty="0" smtClean="0">
                  <a:solidFill>
                    <a:schemeClr val="tx1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𝑑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2</m:t>
                      </m:r>
                    </m:oMath>
                  </m:oMathPara>
                </a14:m>
                <a:endParaRPr lang="ru-RU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39" name="Прямоугольник 3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1734" y="4432881"/>
                <a:ext cx="2682824" cy="923330"/>
              </a:xfrm>
              <a:prstGeom prst="rect">
                <a:avLst/>
              </a:prstGeom>
              <a:blipFill rotWithShape="1">
                <a:blip r:embed="rId6"/>
                <a:stretch>
                  <a:fillRect l="-2045" t="-328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0" name="Прямая соединительная линия 39"/>
          <p:cNvCxnSpPr/>
          <p:nvPr/>
        </p:nvCxnSpPr>
        <p:spPr>
          <a:xfrm flipV="1">
            <a:off x="4424833" y="3225981"/>
            <a:ext cx="6277034" cy="8594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Прямоугольник 40"/>
              <p:cNvSpPr/>
              <p:nvPr/>
            </p:nvSpPr>
            <p:spPr>
              <a:xfrm>
                <a:off x="3152771" y="4432881"/>
                <a:ext cx="2682824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endParaRPr lang="en-US" b="1" dirty="0" smtClean="0">
                  <a:solidFill>
                    <a:srgbClr val="2F5597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𝑛</m:t>
                          </m:r>
                        </m:sub>
                      </m:sSub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𝑑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𝑛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−1)</m:t>
                      </m:r>
                    </m:oMath>
                  </m:oMathPara>
                </a14:m>
                <a:endParaRPr lang="en-US" b="0" dirty="0" smtClean="0">
                  <a:solidFill>
                    <a:schemeClr val="tx1"/>
                  </a:solidFill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7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r>
                        <a:rPr lang="en-US" b="0" i="1" smtClean="0">
                          <a:latin typeface="Cambria Math"/>
                        </a:rPr>
                        <m:t>4</m:t>
                      </m:r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2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∙6=16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1" name="Прямоугольник 4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52771" y="4432881"/>
                <a:ext cx="2682824" cy="923330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2" name="Прямоугольник 41"/>
          <p:cNvSpPr/>
          <p:nvPr/>
        </p:nvSpPr>
        <p:spPr>
          <a:xfrm>
            <a:off x="6155283" y="4634786"/>
            <a:ext cx="57965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1" dirty="0" smtClean="0">
              <a:solidFill>
                <a:srgbClr val="2F5597"/>
              </a:solidFill>
            </a:endParaRPr>
          </a:p>
          <a:p>
            <a:r>
              <a:rPr lang="ru-RU" dirty="0" smtClean="0"/>
              <a:t>Через 7 лет в магазине будет работать 16 менеджеров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433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1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зада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3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За счёт расширения ассортимента товаров количество </a:t>
            </a:r>
            <a:r>
              <a:rPr lang="ru-RU" dirty="0" smtClean="0"/>
              <a:t>постоянных </a:t>
            </a:r>
            <a:r>
              <a:rPr lang="ru-RU" dirty="0"/>
              <a:t>покупателей магазина регулярно увеличивается. </a:t>
            </a:r>
            <a:r>
              <a:rPr lang="ru-RU" dirty="0" smtClean="0"/>
              <a:t>Сколько у </a:t>
            </a:r>
            <a:r>
              <a:rPr lang="ru-RU" dirty="0"/>
              <a:t>магазина покупателей было в первый год, если на второй </a:t>
            </a:r>
            <a:r>
              <a:rPr lang="ru-RU" dirty="0" smtClean="0"/>
              <a:t>их количество </a:t>
            </a:r>
            <a:r>
              <a:rPr lang="ru-RU" dirty="0"/>
              <a:t>увеличилось на 10 %, на третий — ещё на 5 % от </a:t>
            </a:r>
            <a:r>
              <a:rPr lang="ru-RU" dirty="0" smtClean="0"/>
              <a:t>количества </a:t>
            </a:r>
            <a:r>
              <a:rPr lang="ru-RU" dirty="0"/>
              <a:t>постоянных покупателей второго года. Всего за три </a:t>
            </a:r>
            <a:r>
              <a:rPr lang="ru-RU" dirty="0" smtClean="0"/>
              <a:t>года 651 </a:t>
            </a:r>
            <a:r>
              <a:rPr lang="ru-RU" dirty="0"/>
              <a:t>покупатель приобрёл принтеры и другую оргтехнику в </a:t>
            </a:r>
            <a:r>
              <a:rPr lang="ru-RU" dirty="0" smtClean="0"/>
              <a:t>этом магазине</a:t>
            </a:r>
            <a:r>
              <a:rPr lang="ru-RU" dirty="0"/>
              <a:t>.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0760414" y="3505561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461734" y="3776750"/>
            <a:ext cx="6455533" cy="1737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7062365" y="3813341"/>
            <a:ext cx="532235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6434674" y="3504774"/>
            <a:ext cx="422485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8787454" y="3813343"/>
            <a:ext cx="1482613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1483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зада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3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За счёт расширения ассортимента товаров количество </a:t>
            </a:r>
            <a:r>
              <a:rPr lang="ru-RU" dirty="0" smtClean="0"/>
              <a:t>постоянных </a:t>
            </a:r>
            <a:r>
              <a:rPr lang="ru-RU" dirty="0"/>
              <a:t>покупателей магазина регулярно увеличивается. </a:t>
            </a:r>
            <a:r>
              <a:rPr lang="ru-RU" dirty="0" smtClean="0"/>
              <a:t>Сколько у </a:t>
            </a:r>
            <a:r>
              <a:rPr lang="ru-RU" dirty="0"/>
              <a:t>магазина покупателей было в первый год, если на второй </a:t>
            </a:r>
            <a:r>
              <a:rPr lang="ru-RU" dirty="0" smtClean="0"/>
              <a:t>их количество </a:t>
            </a:r>
            <a:r>
              <a:rPr lang="ru-RU" dirty="0"/>
              <a:t>увеличилось на 10 %, на третий — ещё на 5 % от </a:t>
            </a:r>
            <a:r>
              <a:rPr lang="ru-RU" dirty="0" smtClean="0"/>
              <a:t>количества </a:t>
            </a:r>
            <a:r>
              <a:rPr lang="ru-RU" dirty="0"/>
              <a:t>постоянных покупателей второго года. Всего за три </a:t>
            </a:r>
            <a:r>
              <a:rPr lang="ru-RU" dirty="0" smtClean="0"/>
              <a:t>года 651 </a:t>
            </a:r>
            <a:r>
              <a:rPr lang="ru-RU" dirty="0"/>
              <a:t>покупатель приобрёл принтеры и другую оргтехнику в </a:t>
            </a:r>
            <a:r>
              <a:rPr lang="ru-RU" dirty="0" smtClean="0"/>
              <a:t>этом магазине</a:t>
            </a:r>
            <a:r>
              <a:rPr lang="ru-RU" dirty="0"/>
              <a:t>.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0760414" y="3505561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461734" y="3776750"/>
            <a:ext cx="6455533" cy="1737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7062365" y="3813341"/>
            <a:ext cx="532235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443972" y="4195648"/>
            <a:ext cx="26828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en-US" b="1" dirty="0" smtClean="0">
              <a:solidFill>
                <a:srgbClr val="2F5597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6434674" y="3504774"/>
            <a:ext cx="422485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8787454" y="3813343"/>
            <a:ext cx="1482613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885343192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3742267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0" smtClean="0">
                                    <a:latin typeface="Cambria Math"/>
                                  </a:rPr>
                                  <m:t>=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i="1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:endParaRPr lang="ru-RU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791112977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8197" r="-163" b="-2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108197" r="-163" b="-1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:endParaRPr lang="ru-RU" dirty="0"/>
                        </a:p>
                      </a:txBody>
                      <a:tcPr/>
                    </a:tc>
                  </a:tr>
                </a:tbl>
              </a:graphicData>
            </a:graphic>
          </p:graphicFrame>
        </mc:Fallback>
      </mc:AlternateContent>
      <p:sp>
        <p:nvSpPr>
          <p:cNvPr id="5" name="Правая фигурная скобка 4"/>
          <p:cNvSpPr/>
          <p:nvPr/>
        </p:nvSpPr>
        <p:spPr>
          <a:xfrm>
            <a:off x="5109632" y="4574893"/>
            <a:ext cx="167217" cy="1080840"/>
          </a:xfrm>
          <a:prstGeom prst="rightBrace">
            <a:avLst>
              <a:gd name="adj1" fmla="val 7596"/>
              <a:gd name="adj2" fmla="val 47134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359400" y="4876801"/>
            <a:ext cx="655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65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2402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зада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3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За счёт расширения ассортимента товаров количество </a:t>
            </a:r>
            <a:r>
              <a:rPr lang="ru-RU" dirty="0" smtClean="0"/>
              <a:t>постоянных </a:t>
            </a:r>
            <a:r>
              <a:rPr lang="ru-RU" dirty="0"/>
              <a:t>покупателей магазина регулярно увеличивается. </a:t>
            </a:r>
            <a:r>
              <a:rPr lang="ru-RU" dirty="0" smtClean="0"/>
              <a:t>Сколько у </a:t>
            </a:r>
            <a:r>
              <a:rPr lang="ru-RU" dirty="0"/>
              <a:t>магазина покупателей было в первый год, если на второй </a:t>
            </a:r>
            <a:r>
              <a:rPr lang="ru-RU" dirty="0" smtClean="0"/>
              <a:t>их количество </a:t>
            </a:r>
            <a:r>
              <a:rPr lang="ru-RU" dirty="0"/>
              <a:t>увеличилось на 10 %, на третий — ещё на 5 % от </a:t>
            </a:r>
            <a:r>
              <a:rPr lang="ru-RU" dirty="0" smtClean="0"/>
              <a:t>количества </a:t>
            </a:r>
            <a:r>
              <a:rPr lang="ru-RU" dirty="0"/>
              <a:t>постоянных покупателей второго года. Всего за три </a:t>
            </a:r>
            <a:r>
              <a:rPr lang="ru-RU" dirty="0" smtClean="0"/>
              <a:t>года 651 </a:t>
            </a:r>
            <a:r>
              <a:rPr lang="ru-RU" dirty="0"/>
              <a:t>покупатель приобрёл принтеры и другую оргтехнику в </a:t>
            </a:r>
            <a:r>
              <a:rPr lang="ru-RU" dirty="0" smtClean="0"/>
              <a:t>этом магазине</a:t>
            </a:r>
            <a:r>
              <a:rPr lang="ru-RU" dirty="0"/>
              <a:t>.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0760414" y="3505561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461734" y="3776750"/>
            <a:ext cx="6455533" cy="1737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7062365" y="3813341"/>
            <a:ext cx="532235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443972" y="4195648"/>
            <a:ext cx="26828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en-US" b="1" dirty="0" smtClean="0">
              <a:solidFill>
                <a:srgbClr val="2F5597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6434674" y="3504774"/>
            <a:ext cx="422485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8787454" y="3813343"/>
            <a:ext cx="1482613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707009953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3742267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0" smtClean="0">
                                    <a:latin typeface="Cambria Math"/>
                                  </a:rPr>
                                  <m:t>=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i="1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05∙1,1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=1,155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402645449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8197" r="-163" b="-2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108197" r="-163" b="-1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208197" r="-163" b="-24590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5" name="Правая фигурная скобка 4"/>
          <p:cNvSpPr/>
          <p:nvPr/>
        </p:nvSpPr>
        <p:spPr>
          <a:xfrm>
            <a:off x="5109632" y="4574893"/>
            <a:ext cx="167217" cy="1080840"/>
          </a:xfrm>
          <a:prstGeom prst="rightBrace">
            <a:avLst>
              <a:gd name="adj1" fmla="val 7596"/>
              <a:gd name="adj2" fmla="val 47134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359400" y="4876801"/>
            <a:ext cx="655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65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3536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зада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3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За счёт расширения ассортимента товаров количество </a:t>
            </a:r>
            <a:r>
              <a:rPr lang="ru-RU" dirty="0" smtClean="0"/>
              <a:t>постоянных </a:t>
            </a:r>
            <a:r>
              <a:rPr lang="ru-RU" dirty="0"/>
              <a:t>покупателей магазина регулярно увеличивается. </a:t>
            </a:r>
            <a:r>
              <a:rPr lang="ru-RU" dirty="0" smtClean="0"/>
              <a:t>Сколько у </a:t>
            </a:r>
            <a:r>
              <a:rPr lang="ru-RU" dirty="0"/>
              <a:t>магазина покупателей было в первый год, если на второй </a:t>
            </a:r>
            <a:r>
              <a:rPr lang="ru-RU" dirty="0" smtClean="0"/>
              <a:t>их количество </a:t>
            </a:r>
            <a:r>
              <a:rPr lang="ru-RU" dirty="0"/>
              <a:t>увеличилось на 10 %, на третий — ещё на 5 % от </a:t>
            </a:r>
            <a:r>
              <a:rPr lang="ru-RU" dirty="0" smtClean="0"/>
              <a:t>количества </a:t>
            </a:r>
            <a:r>
              <a:rPr lang="ru-RU" dirty="0"/>
              <a:t>постоянных покупателей второго года. Всего за три </a:t>
            </a:r>
            <a:r>
              <a:rPr lang="ru-RU" dirty="0" smtClean="0"/>
              <a:t>года 651 </a:t>
            </a:r>
            <a:r>
              <a:rPr lang="ru-RU" dirty="0"/>
              <a:t>покупатель приобрёл принтеры и другую оргтехнику в </a:t>
            </a:r>
            <a:r>
              <a:rPr lang="ru-RU" dirty="0" smtClean="0"/>
              <a:t>этом магазине</a:t>
            </a:r>
            <a:r>
              <a:rPr lang="ru-RU" dirty="0"/>
              <a:t>.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0760414" y="3505561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461734" y="3776750"/>
            <a:ext cx="6455533" cy="1737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7062365" y="3813341"/>
            <a:ext cx="532235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443972" y="4195648"/>
            <a:ext cx="26828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en-US" b="1" dirty="0" smtClean="0">
              <a:solidFill>
                <a:srgbClr val="2F5597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6434674" y="3504774"/>
            <a:ext cx="422485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8787454" y="3813343"/>
            <a:ext cx="1482613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427704608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3742267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0" smtClean="0">
                                    <a:latin typeface="Cambria Math"/>
                                  </a:rPr>
                                  <m:t>=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i="1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05∙1,1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=1,155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107103027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8197" r="-163" b="-2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108197" r="-163" b="-1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208197" r="-163" b="-24590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5" name="Правая фигурная скобка 4"/>
          <p:cNvSpPr/>
          <p:nvPr/>
        </p:nvSpPr>
        <p:spPr>
          <a:xfrm>
            <a:off x="5109632" y="4574893"/>
            <a:ext cx="167217" cy="1080840"/>
          </a:xfrm>
          <a:prstGeom prst="rightBrace">
            <a:avLst>
              <a:gd name="adj1" fmla="val 7596"/>
              <a:gd name="adj2" fmla="val 47134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359400" y="4876801"/>
            <a:ext cx="655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651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Прямоугольник 36"/>
              <p:cNvSpPr/>
              <p:nvPr/>
            </p:nvSpPr>
            <p:spPr>
              <a:xfrm>
                <a:off x="6487412" y="4073760"/>
                <a:ext cx="4600083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𝑥</m:t>
                      </m:r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1,1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</a:rPr>
                        <m:t>+1,155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=651,</m:t>
                      </m:r>
                    </m:oMath>
                  </m:oMathPara>
                </a14:m>
                <a:endParaRPr lang="en-US" b="0" dirty="0" smtClean="0"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7" name="Прямоугольник 3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87412" y="4073760"/>
                <a:ext cx="4600083" cy="646331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652240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зада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3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За счёт расширения ассортимента товаров количество </a:t>
            </a:r>
            <a:r>
              <a:rPr lang="ru-RU" dirty="0" smtClean="0"/>
              <a:t>постоянных </a:t>
            </a:r>
            <a:r>
              <a:rPr lang="ru-RU" dirty="0"/>
              <a:t>покупателей магазина регулярно увеличивается. </a:t>
            </a:r>
            <a:r>
              <a:rPr lang="ru-RU" dirty="0" smtClean="0"/>
              <a:t>Сколько у </a:t>
            </a:r>
            <a:r>
              <a:rPr lang="ru-RU" dirty="0"/>
              <a:t>магазина покупателей было в первый год, если на второй </a:t>
            </a:r>
            <a:r>
              <a:rPr lang="ru-RU" dirty="0" smtClean="0"/>
              <a:t>их количество </a:t>
            </a:r>
            <a:r>
              <a:rPr lang="ru-RU" dirty="0"/>
              <a:t>увеличилось на 10 %, на третий — ещё на 5 % от </a:t>
            </a:r>
            <a:r>
              <a:rPr lang="ru-RU" dirty="0" smtClean="0"/>
              <a:t>количества </a:t>
            </a:r>
            <a:r>
              <a:rPr lang="ru-RU" dirty="0"/>
              <a:t>постоянных покупателей второго года. Всего за три </a:t>
            </a:r>
            <a:r>
              <a:rPr lang="ru-RU" dirty="0" smtClean="0"/>
              <a:t>года 651 </a:t>
            </a:r>
            <a:r>
              <a:rPr lang="ru-RU" dirty="0"/>
              <a:t>покупатель приобрёл принтеры и другую оргтехнику в </a:t>
            </a:r>
            <a:r>
              <a:rPr lang="ru-RU" dirty="0" smtClean="0"/>
              <a:t>этом магазине</a:t>
            </a:r>
            <a:r>
              <a:rPr lang="ru-RU" dirty="0"/>
              <a:t>.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0760414" y="3505561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461734" y="3776750"/>
            <a:ext cx="6455533" cy="1737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7062365" y="3813341"/>
            <a:ext cx="532235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443972" y="4195648"/>
            <a:ext cx="26828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en-US" b="1" dirty="0" smtClean="0">
              <a:solidFill>
                <a:srgbClr val="2F5597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6434674" y="3504774"/>
            <a:ext cx="422485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8787454" y="3813343"/>
            <a:ext cx="1482613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226678808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3742267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0" smtClean="0">
                                    <a:latin typeface="Cambria Math"/>
                                  </a:rPr>
                                  <m:t>=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i="1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05∙1,1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=1,155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112990570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8197" r="-163" b="-2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108197" r="-163" b="-1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208197" r="-163" b="-24590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5" name="Правая фигурная скобка 4"/>
          <p:cNvSpPr/>
          <p:nvPr/>
        </p:nvSpPr>
        <p:spPr>
          <a:xfrm>
            <a:off x="5109632" y="4574893"/>
            <a:ext cx="167217" cy="1080840"/>
          </a:xfrm>
          <a:prstGeom prst="rightBrace">
            <a:avLst>
              <a:gd name="adj1" fmla="val 7596"/>
              <a:gd name="adj2" fmla="val 47134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359400" y="4876801"/>
            <a:ext cx="655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651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Прямоугольник 36"/>
              <p:cNvSpPr/>
              <p:nvPr/>
            </p:nvSpPr>
            <p:spPr>
              <a:xfrm>
                <a:off x="6487412" y="4073760"/>
                <a:ext cx="4600083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𝑥</m:t>
                      </m:r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1,1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</a:rPr>
                        <m:t>+1,155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=651,</m:t>
                      </m:r>
                    </m:oMath>
                  </m:oMathPara>
                </a14:m>
                <a:endParaRPr lang="en-US" b="0" dirty="0" smtClean="0"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3</m:t>
                      </m:r>
                      <m:r>
                        <a:rPr lang="en-US" i="1">
                          <a:latin typeface="Cambria Math"/>
                        </a:rPr>
                        <m:t>,</m:t>
                      </m:r>
                      <m:r>
                        <a:rPr lang="en-US" b="0" i="1" smtClean="0">
                          <a:latin typeface="Cambria Math"/>
                        </a:rPr>
                        <m:t>2</m:t>
                      </m:r>
                      <m:r>
                        <a:rPr lang="en-US" i="1">
                          <a:latin typeface="Cambria Math"/>
                        </a:rPr>
                        <m:t>55</m:t>
                      </m:r>
                      <m:r>
                        <a:rPr lang="en-US" i="1">
                          <a:latin typeface="Cambria Math"/>
                        </a:rPr>
                        <m:t>𝑥</m:t>
                      </m:r>
                      <m:r>
                        <a:rPr lang="en-US" i="1">
                          <a:latin typeface="Cambria Math"/>
                          <a:ea typeface="Cambria Math"/>
                        </a:rPr>
                        <m:t>=651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,</m:t>
                      </m:r>
                    </m:oMath>
                  </m:oMathPara>
                </a14:m>
                <a:endParaRPr lang="en-US" b="0" dirty="0" smtClean="0"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7" name="Прямоугольник 3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87412" y="4073760"/>
                <a:ext cx="4600083" cy="923330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65976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зада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3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За счёт расширения ассортимента товаров количество </a:t>
            </a:r>
            <a:r>
              <a:rPr lang="ru-RU" dirty="0" smtClean="0"/>
              <a:t>постоянных </a:t>
            </a:r>
            <a:r>
              <a:rPr lang="ru-RU" dirty="0"/>
              <a:t>покупателей магазина регулярно увеличивается. </a:t>
            </a:r>
            <a:r>
              <a:rPr lang="ru-RU" dirty="0" smtClean="0"/>
              <a:t>Сколько у </a:t>
            </a:r>
            <a:r>
              <a:rPr lang="ru-RU" dirty="0"/>
              <a:t>магазина покупателей было в первый год, если на второй </a:t>
            </a:r>
            <a:r>
              <a:rPr lang="ru-RU" dirty="0" smtClean="0"/>
              <a:t>их количество </a:t>
            </a:r>
            <a:r>
              <a:rPr lang="ru-RU" dirty="0"/>
              <a:t>увеличилось на 10 %, на третий — ещё на 5 % от </a:t>
            </a:r>
            <a:r>
              <a:rPr lang="ru-RU" dirty="0" smtClean="0"/>
              <a:t>количества </a:t>
            </a:r>
            <a:r>
              <a:rPr lang="ru-RU" dirty="0"/>
              <a:t>постоянных покупателей второго года. Всего за три </a:t>
            </a:r>
            <a:r>
              <a:rPr lang="ru-RU" dirty="0" smtClean="0"/>
              <a:t>года 651 </a:t>
            </a:r>
            <a:r>
              <a:rPr lang="ru-RU" dirty="0"/>
              <a:t>покупатель приобрёл принтеры и другую оргтехнику в </a:t>
            </a:r>
            <a:r>
              <a:rPr lang="ru-RU" dirty="0" smtClean="0"/>
              <a:t>этом магазине</a:t>
            </a:r>
            <a:r>
              <a:rPr lang="ru-RU" dirty="0"/>
              <a:t>.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0760414" y="3505561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461734" y="3776750"/>
            <a:ext cx="6455533" cy="1737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7062365" y="3813341"/>
            <a:ext cx="532235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443972" y="4195648"/>
            <a:ext cx="26828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en-US" b="1" dirty="0" smtClean="0">
              <a:solidFill>
                <a:srgbClr val="2F5597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6434674" y="3504774"/>
            <a:ext cx="422485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8787454" y="3813343"/>
            <a:ext cx="1482613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831136623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3742267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0" smtClean="0">
                                    <a:latin typeface="Cambria Math"/>
                                  </a:rPr>
                                  <m:t>=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i="1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05∙1,1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=1,155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195486415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8197" r="-163" b="-2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108197" r="-163" b="-1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208197" r="-163" b="-24590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5" name="Правая фигурная скобка 4"/>
          <p:cNvSpPr/>
          <p:nvPr/>
        </p:nvSpPr>
        <p:spPr>
          <a:xfrm>
            <a:off x="5109632" y="4574893"/>
            <a:ext cx="167217" cy="1080840"/>
          </a:xfrm>
          <a:prstGeom prst="rightBrace">
            <a:avLst>
              <a:gd name="adj1" fmla="val 7596"/>
              <a:gd name="adj2" fmla="val 47134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359400" y="4876801"/>
            <a:ext cx="655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651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Прямоугольник 36"/>
              <p:cNvSpPr/>
              <p:nvPr/>
            </p:nvSpPr>
            <p:spPr>
              <a:xfrm>
                <a:off x="6487412" y="4073760"/>
                <a:ext cx="4600083" cy="144937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𝑥</m:t>
                      </m:r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1,1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</a:rPr>
                        <m:t>+1,155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=651,</m:t>
                      </m:r>
                    </m:oMath>
                  </m:oMathPara>
                </a14:m>
                <a:endParaRPr lang="en-US" b="0" dirty="0" smtClean="0"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3</m:t>
                      </m:r>
                      <m:r>
                        <a:rPr lang="en-US" i="1">
                          <a:latin typeface="Cambria Math"/>
                        </a:rPr>
                        <m:t>,</m:t>
                      </m:r>
                      <m:r>
                        <a:rPr lang="en-US" b="0" i="1" smtClean="0">
                          <a:latin typeface="Cambria Math"/>
                        </a:rPr>
                        <m:t>2</m:t>
                      </m:r>
                      <m:r>
                        <a:rPr lang="en-US" i="1">
                          <a:latin typeface="Cambria Math"/>
                        </a:rPr>
                        <m:t>55</m:t>
                      </m:r>
                      <m:r>
                        <a:rPr lang="en-US" i="1">
                          <a:latin typeface="Cambria Math"/>
                        </a:rPr>
                        <m:t>𝑥</m:t>
                      </m:r>
                      <m:r>
                        <a:rPr lang="en-US" i="1">
                          <a:latin typeface="Cambria Math"/>
                          <a:ea typeface="Cambria Math"/>
                        </a:rPr>
                        <m:t>=651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,</m:t>
                      </m:r>
                    </m:oMath>
                  </m:oMathPara>
                </a14:m>
                <a:endParaRPr lang="en-US" b="0" dirty="0" smtClean="0"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651</m:t>
                          </m:r>
                          <m:r>
                            <a:rPr lang="en-US" b="0" i="1" smtClean="0">
                              <a:latin typeface="Cambria Math"/>
                              <a:ea typeface="Cambria Math"/>
                            </a:rPr>
                            <m:t>∙1000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3255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,</m:t>
                      </m:r>
                    </m:oMath>
                  </m:oMathPara>
                </a14:m>
                <a:endParaRPr lang="en-US" b="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7" name="Прямоугольник 3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87412" y="4073760"/>
                <a:ext cx="4600083" cy="1449371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62362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2851980" y="6526855"/>
            <a:ext cx="7040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333333"/>
                </a:solidFill>
                <a:latin typeface="Lato"/>
                <a:hlinkClick r:id="rId3"/>
              </a:rPr>
              <a:t>Математическая грамотность. Математика на каждый день. Тренажёр. 6-8 </a:t>
            </a:r>
            <a:r>
              <a:rPr lang="ru-RU" sz="1100" dirty="0" smtClean="0">
                <a:solidFill>
                  <a:srgbClr val="333333"/>
                </a:solidFill>
                <a:latin typeface="Lato"/>
                <a:hlinkClick r:id="rId3"/>
              </a:rPr>
              <a:t>классы. Сергеева Т.Ф.</a:t>
            </a:r>
            <a:endParaRPr lang="ru-RU" sz="1100" i="0" u="none" strike="noStrike" dirty="0">
              <a:solidFill>
                <a:srgbClr val="333333"/>
              </a:solidFill>
              <a:effectLst/>
              <a:latin typeface="Lato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740" y="1063654"/>
            <a:ext cx="116814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На </a:t>
            </a:r>
            <a:r>
              <a:rPr lang="ru-RU" sz="1600" dirty="0"/>
              <a:t>школьных каникулах двое друзей, Игорь и Максим, </a:t>
            </a:r>
            <a:r>
              <a:rPr lang="ru-RU" sz="1600" dirty="0" smtClean="0"/>
              <a:t>устроились </a:t>
            </a:r>
            <a:r>
              <a:rPr lang="ru-RU" sz="1600" dirty="0"/>
              <a:t>на работу в магазин компьютерной техники помощниками</a:t>
            </a:r>
          </a:p>
          <a:p>
            <a:pPr algn="just"/>
            <a:r>
              <a:rPr lang="ru-RU" sz="1600" dirty="0"/>
              <a:t>консультантов в зале продаж. Этот магазин открылся недалеко </a:t>
            </a:r>
            <a:r>
              <a:rPr lang="ru-RU" sz="1600" dirty="0" smtClean="0"/>
              <a:t>от их </a:t>
            </a:r>
            <a:r>
              <a:rPr lang="ru-RU" sz="1600" dirty="0"/>
              <a:t>школы три года назад</a:t>
            </a:r>
            <a:r>
              <a:rPr lang="ru-RU" sz="1600" dirty="0" smtClean="0"/>
              <a:t>. В </a:t>
            </a:r>
            <a:r>
              <a:rPr lang="ru-RU" sz="1600" dirty="0"/>
              <a:t>первый день работы они получили учебные задания </a:t>
            </a:r>
            <a:r>
              <a:rPr lang="ru-RU" sz="1600" dirty="0" smtClean="0"/>
              <a:t>от управляющего </a:t>
            </a:r>
            <a:r>
              <a:rPr lang="ru-RU" sz="1600" dirty="0"/>
              <a:t>магазина. Необходимо было изучить </a:t>
            </a:r>
            <a:r>
              <a:rPr lang="ru-RU" sz="1600" dirty="0" smtClean="0"/>
              <a:t>технические характеристики </a:t>
            </a:r>
            <a:r>
              <a:rPr lang="ru-RU" sz="1600" dirty="0"/>
              <a:t>всех моделей принтеров, имеющихся на складе</a:t>
            </a:r>
            <a:r>
              <a:rPr lang="ru-RU" sz="1600" dirty="0" smtClean="0"/>
              <a:t>. Ребята </a:t>
            </a:r>
            <a:r>
              <a:rPr lang="ru-RU" sz="1600" dirty="0"/>
              <a:t>выяснили, что в магазине есть 6 современных </a:t>
            </a:r>
            <a:r>
              <a:rPr lang="ru-RU" sz="1600" dirty="0" smtClean="0"/>
              <a:t>моделей принтеров</a:t>
            </a:r>
            <a:r>
              <a:rPr lang="ru-RU" sz="1600" dirty="0"/>
              <a:t>. Количество принтеров каждой модели изображено </a:t>
            </a:r>
            <a:r>
              <a:rPr lang="ru-RU" sz="1600" dirty="0" smtClean="0"/>
              <a:t>на диаграмме. Для </a:t>
            </a:r>
            <a:r>
              <a:rPr lang="ru-RU" sz="1600" dirty="0"/>
              <a:t>друзей не стоило никакого труда </a:t>
            </a:r>
            <a:r>
              <a:rPr lang="ru-RU" sz="1600" dirty="0" smtClean="0"/>
              <a:t>внимательно </a:t>
            </a:r>
            <a:r>
              <a:rPr lang="ru-RU" sz="1600" dirty="0"/>
              <a:t>изучить описание каждой из моделей и составить </a:t>
            </a:r>
            <a:r>
              <a:rPr lang="ru-RU" sz="1600" dirty="0" smtClean="0"/>
              <a:t>сравнительную </a:t>
            </a:r>
            <a:r>
              <a:rPr lang="ru-RU" sz="1600" dirty="0"/>
              <a:t>таблицу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зада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50" y="744508"/>
            <a:ext cx="2883184" cy="2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70240" y="2645151"/>
            <a:ext cx="115931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Вопрос </a:t>
            </a:r>
            <a:r>
              <a:rPr lang="ru-RU" b="1" dirty="0" smtClean="0">
                <a:solidFill>
                  <a:srgbClr val="2F5597"/>
                </a:solidFill>
              </a:rPr>
              <a:t>3</a:t>
            </a:r>
            <a:endParaRPr lang="ru-RU" b="1" dirty="0">
              <a:solidFill>
                <a:srgbClr val="2F5597"/>
              </a:solidFill>
            </a:endParaRPr>
          </a:p>
          <a:p>
            <a:r>
              <a:rPr lang="ru-RU" dirty="0"/>
              <a:t>За счёт расширения ассортимента товаров количество </a:t>
            </a:r>
            <a:r>
              <a:rPr lang="ru-RU" dirty="0" smtClean="0"/>
              <a:t>постоянных </a:t>
            </a:r>
            <a:r>
              <a:rPr lang="ru-RU" dirty="0"/>
              <a:t>покупателей магазина регулярно увеличивается. </a:t>
            </a:r>
            <a:r>
              <a:rPr lang="ru-RU" dirty="0" smtClean="0"/>
              <a:t>Сколько у </a:t>
            </a:r>
            <a:r>
              <a:rPr lang="ru-RU" dirty="0"/>
              <a:t>магазина покупателей было в первый год, если на второй </a:t>
            </a:r>
            <a:r>
              <a:rPr lang="ru-RU" dirty="0" smtClean="0"/>
              <a:t>их количество </a:t>
            </a:r>
            <a:r>
              <a:rPr lang="ru-RU" dirty="0"/>
              <a:t>увеличилось на 10 %, на третий — ещё на 5 % от </a:t>
            </a:r>
            <a:r>
              <a:rPr lang="ru-RU" dirty="0" smtClean="0"/>
              <a:t>количества </a:t>
            </a:r>
            <a:r>
              <a:rPr lang="ru-RU" dirty="0"/>
              <a:t>постоянных покупателей второго года. Всего за три </a:t>
            </a:r>
            <a:r>
              <a:rPr lang="ru-RU" dirty="0" smtClean="0"/>
              <a:t>года 651 </a:t>
            </a:r>
            <a:r>
              <a:rPr lang="ru-RU" dirty="0"/>
              <a:t>покупатель приобрёл принтеры и другую оргтехнику в </a:t>
            </a:r>
            <a:r>
              <a:rPr lang="ru-RU" dirty="0" smtClean="0"/>
              <a:t>этом магазине</a:t>
            </a:r>
            <a:r>
              <a:rPr lang="ru-RU" dirty="0"/>
              <a:t>.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0760414" y="3505561"/>
            <a:ext cx="912070" cy="85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461734" y="3776750"/>
            <a:ext cx="6455533" cy="1737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7062365" y="3813341"/>
            <a:ext cx="532235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443972" y="4195648"/>
            <a:ext cx="26828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Решение</a:t>
            </a:r>
            <a:endParaRPr lang="en-US" b="1" dirty="0" smtClean="0">
              <a:solidFill>
                <a:srgbClr val="2F5597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6434674" y="3504774"/>
            <a:ext cx="422485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8787454" y="3813343"/>
            <a:ext cx="1482613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524734276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3742267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0" smtClean="0">
                                    <a:latin typeface="Cambria Math"/>
                                  </a:rPr>
                                  <m:t>=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i="1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360000"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r>
                                  <a:rPr lang="en-US" b="0" i="1" smtClean="0">
                                    <a:latin typeface="Cambria Math"/>
                                  </a:rPr>
                                  <m:t>1,1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</a:rPr>
                                  <m:t>+0,05∙1,1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=1,155</m:t>
                                </m:r>
                                <m:r>
                                  <a:rPr lang="en-US" b="0" i="1" smtClean="0">
                                    <a:latin typeface="Cambria Math"/>
                                    <a:ea typeface="Cambria Math"/>
                                  </a:rPr>
                                  <m:t>𝑥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829200551"/>
                  </p:ext>
                </p:extLst>
              </p:nvPr>
            </p:nvGraphicFramePr>
            <p:xfrm>
              <a:off x="517194" y="4572465"/>
              <a:ext cx="4495073" cy="111252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752806"/>
                    <a:gridCol w="3742267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8197" r="-163" b="-2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108197" r="-163" b="-124590"/>
                          </a:stretch>
                        </a:blip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III</a:t>
                          </a:r>
                          <a:r>
                            <a:rPr lang="ru-RU" dirty="0" smtClean="0"/>
                            <a:t> год</a:t>
                          </a:r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6"/>
                          <a:stretch>
                            <a:fillRect l="-20195" t="-208197" r="-163" b="-24590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5" name="Правая фигурная скобка 4"/>
          <p:cNvSpPr/>
          <p:nvPr/>
        </p:nvSpPr>
        <p:spPr>
          <a:xfrm>
            <a:off x="5109632" y="4574893"/>
            <a:ext cx="167217" cy="1080840"/>
          </a:xfrm>
          <a:prstGeom prst="rightBrace">
            <a:avLst>
              <a:gd name="adj1" fmla="val 7596"/>
              <a:gd name="adj2" fmla="val 47134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359400" y="4876801"/>
            <a:ext cx="655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651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Прямоугольник 36"/>
              <p:cNvSpPr/>
              <p:nvPr/>
            </p:nvSpPr>
            <p:spPr>
              <a:xfrm>
                <a:off x="6487412" y="4073760"/>
                <a:ext cx="4600083" cy="22524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𝑥</m:t>
                      </m:r>
                      <m:r>
                        <a:rPr lang="en-US" i="1">
                          <a:latin typeface="Cambria Math"/>
                        </a:rPr>
                        <m:t>+</m:t>
                      </m:r>
                      <m:r>
                        <a:rPr lang="en-US" b="0" i="1" smtClean="0">
                          <a:latin typeface="Cambria Math"/>
                        </a:rPr>
                        <m:t>1,1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</a:rPr>
                        <m:t>+1,155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=651,</m:t>
                      </m:r>
                    </m:oMath>
                  </m:oMathPara>
                </a14:m>
                <a:endParaRPr lang="en-US" b="0" dirty="0" smtClean="0"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3</m:t>
                      </m:r>
                      <m:r>
                        <a:rPr lang="en-US" i="1">
                          <a:latin typeface="Cambria Math"/>
                        </a:rPr>
                        <m:t>,</m:t>
                      </m:r>
                      <m:r>
                        <a:rPr lang="en-US" b="0" i="1" smtClean="0">
                          <a:latin typeface="Cambria Math"/>
                        </a:rPr>
                        <m:t>2</m:t>
                      </m:r>
                      <m:r>
                        <a:rPr lang="en-US" i="1">
                          <a:latin typeface="Cambria Math"/>
                        </a:rPr>
                        <m:t>55</m:t>
                      </m:r>
                      <m:r>
                        <a:rPr lang="en-US" i="1">
                          <a:latin typeface="Cambria Math"/>
                        </a:rPr>
                        <m:t>𝑥</m:t>
                      </m:r>
                      <m:r>
                        <a:rPr lang="en-US" i="1">
                          <a:latin typeface="Cambria Math"/>
                          <a:ea typeface="Cambria Math"/>
                        </a:rPr>
                        <m:t>=651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,</m:t>
                      </m:r>
                    </m:oMath>
                  </m:oMathPara>
                </a14:m>
                <a:endParaRPr lang="en-US" b="0" dirty="0" smtClean="0"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/>
                            </a:rPr>
                            <m:t>651</m:t>
                          </m:r>
                          <m:r>
                            <a:rPr lang="en-US" b="0" i="1" smtClean="0">
                              <a:latin typeface="Cambria Math"/>
                              <a:ea typeface="Cambria Math"/>
                            </a:rPr>
                            <m:t>∙1000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3255</m:t>
                          </m:r>
                        </m:den>
                      </m:f>
                      <m:r>
                        <a:rPr lang="en-US" b="0" i="1" smtClean="0">
                          <a:latin typeface="Cambria Math"/>
                        </a:rPr>
                        <m:t>,</m:t>
                      </m:r>
                    </m:oMath>
                  </m:oMathPara>
                </a14:m>
                <a:endParaRPr lang="en-US" b="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</m:t>
                      </m:r>
                      <m:r>
                        <a:rPr lang="en-US" i="1">
                          <a:latin typeface="Cambria Math"/>
                        </a:rPr>
                        <m:t>𝑥</m:t>
                      </m:r>
                      <m:r>
                        <a:rPr lang="en-US" i="1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/>
                            </a:rPr>
                            <m:t>651</m:t>
                          </m:r>
                          <m:r>
                            <a:rPr lang="en-US" i="1">
                              <a:latin typeface="Cambria Math"/>
                              <a:ea typeface="Cambria Math"/>
                            </a:rPr>
                            <m:t>∙</m:t>
                          </m:r>
                          <m:r>
                            <a:rPr lang="en-US" b="0" i="1" smtClean="0">
                              <a:latin typeface="Cambria Math"/>
                              <a:ea typeface="Cambria Math"/>
                            </a:rPr>
                            <m:t>200</m:t>
                          </m:r>
                        </m:num>
                        <m:den>
                          <m:r>
                            <a:rPr lang="en-US" b="0" i="1" smtClean="0">
                              <a:latin typeface="Cambria Math"/>
                            </a:rPr>
                            <m:t>651</m:t>
                          </m:r>
                        </m:den>
                      </m:f>
                      <m:r>
                        <a:rPr lang="en-US" i="1">
                          <a:latin typeface="Cambria Math"/>
                        </a:rPr>
                        <m:t>,</m:t>
                      </m:r>
                    </m:oMath>
                  </m:oMathPara>
                </a14:m>
                <a:endParaRPr lang="en-US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/>
                        </a:rPr>
                        <m:t>                   </m:t>
                      </m:r>
                      <m:r>
                        <a:rPr lang="en-US" b="0" i="1" smtClean="0">
                          <a:latin typeface="Cambria Math"/>
                        </a:rPr>
                        <m:t>𝑥</m:t>
                      </m:r>
                      <m:r>
                        <a:rPr lang="en-US" b="0" i="1" smtClean="0">
                          <a:latin typeface="Cambria Math"/>
                        </a:rPr>
                        <m:t>=200.</m:t>
                      </m:r>
                    </m:oMath>
                  </m:oMathPara>
                </a14:m>
                <a:endParaRPr lang="en-US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37" name="Прямоугольник 3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87412" y="4073760"/>
                <a:ext cx="4600083" cy="2252411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1" name="Прямоугольник 40"/>
          <p:cNvSpPr/>
          <p:nvPr/>
        </p:nvSpPr>
        <p:spPr>
          <a:xfrm>
            <a:off x="6422286" y="6041255"/>
            <a:ext cx="51108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F5597"/>
                </a:solidFill>
              </a:rPr>
              <a:t>Ответ. </a:t>
            </a:r>
            <a:r>
              <a:rPr lang="ru-RU" dirty="0" smtClean="0"/>
              <a:t>200 покупателей в первый год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78561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08631"/>
            <a:ext cx="2619375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152" y="1908675"/>
            <a:ext cx="5198870" cy="1509157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67" y="3588544"/>
            <a:ext cx="5191694" cy="950924"/>
          </a:xfrm>
          <a:prstGeom prst="rect">
            <a:avLst/>
          </a:prstGeom>
        </p:spPr>
      </p:pic>
      <p:pic>
        <p:nvPicPr>
          <p:cNvPr id="3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7" y="776288"/>
            <a:ext cx="5139664" cy="939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036" y="4686566"/>
            <a:ext cx="5170986" cy="915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667" y="5778206"/>
            <a:ext cx="5176033" cy="578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0937" y="787752"/>
            <a:ext cx="5538723" cy="593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949" y="1595279"/>
            <a:ext cx="5451638" cy="807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0937" y="2484128"/>
            <a:ext cx="5368783" cy="1229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3"/>
          <p:cNvPicPr>
            <a:picLocks noChangeAspect="1" noChangeArrowheads="1"/>
          </p:cNvPicPr>
          <p:nvPr/>
        </p:nvPicPr>
        <p:blipFill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0937" y="3828196"/>
            <a:ext cx="5405044" cy="858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92949" y="4816915"/>
            <a:ext cx="5513660" cy="784741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55687" y="5743667"/>
            <a:ext cx="5640438" cy="830708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274352" y="6400909"/>
            <a:ext cx="2581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22"/>
              </a:rPr>
              <a:t>УМК по математике А. Г. Мерзляка</a:t>
            </a:r>
            <a:r>
              <a:rPr lang="ru-RU" sz="1100" b="1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54427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162425" y="6454770"/>
            <a:ext cx="2581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УМК по математике </a:t>
            </a:r>
            <a:r>
              <a:rPr lang="ru-RU" sz="1100" b="1" dirty="0" smtClean="0">
                <a:hlinkClick r:id="rId3"/>
              </a:rPr>
              <a:t>Н.Я. </a:t>
            </a:r>
            <a:r>
              <a:rPr lang="ru-RU" sz="1100" b="1" dirty="0" err="1" smtClean="0">
                <a:hlinkClick r:id="rId3"/>
              </a:rPr>
              <a:t>Виленкина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205801" y="939256"/>
            <a:ext cx="9230849" cy="1657350"/>
            <a:chOff x="240697" y="980891"/>
            <a:chExt cx="9230849" cy="1657350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40697" y="980891"/>
              <a:ext cx="9210675" cy="1657350"/>
            </a:xfrm>
            <a:prstGeom prst="rect">
              <a:avLst/>
            </a:prstGeom>
          </p:spPr>
        </p:pic>
        <p:sp>
          <p:nvSpPr>
            <p:cNvPr id="4" name="Прямоугольник 3"/>
            <p:cNvSpPr/>
            <p:nvPr/>
          </p:nvSpPr>
          <p:spPr>
            <a:xfrm>
              <a:off x="6092949" y="1842448"/>
              <a:ext cx="3378597" cy="7957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69634" name="Picture 2" descr="Льда, Мороженое, Вафельный, Десерт, Лето, Сладкий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3634" y="606923"/>
            <a:ext cx="1109149" cy="2218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6410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1842500" y="108510"/>
            <a:ext cx="100293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руктура заданий 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SA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181421" y="971388"/>
            <a:ext cx="3519416" cy="1000125"/>
          </a:xfrm>
        </p:spPr>
        <p:txBody>
          <a:bodyPr>
            <a:normAutofit/>
          </a:bodyPr>
          <a:lstStyle/>
          <a:p>
            <a:pPr marL="54864" algn="ctr"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ексты/</a:t>
            </a:r>
            <a:b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туации</a:t>
            </a:r>
            <a:endParaRPr lang="ru-R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54592" y="2228335"/>
            <a:ext cx="3882258" cy="377975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anchor="ctr" anchorCtr="0">
            <a:spAutoFit/>
          </a:bodyPr>
          <a:lstStyle/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личная жизнь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algn="ctr"/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образование/</a:t>
            </a:r>
          </a:p>
          <a:p>
            <a:pPr algn="ctr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рофессиональная деятельность,</a:t>
            </a:r>
          </a:p>
          <a:p>
            <a:pPr algn="ctr"/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общественная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жизнь</a:t>
            </a:r>
          </a:p>
          <a:p>
            <a:pPr algn="ctr"/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научная деятельность.</a:t>
            </a:r>
            <a:endParaRPr lang="ru-RU" alt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2"/>
          <p:cNvSpPr txBox="1">
            <a:spLocks noRot="1" noChangeArrowheads="1"/>
          </p:cNvSpPr>
          <p:nvPr/>
        </p:nvSpPr>
        <p:spPr>
          <a:xfrm>
            <a:off x="4348483" y="971385"/>
            <a:ext cx="3653599" cy="1000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864" algn="ctr">
              <a:defRPr/>
            </a:pPr>
            <a: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ческое содержание</a:t>
            </a:r>
            <a:endParaRPr lang="ru-R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2"/>
          <p:cNvSpPr txBox="1">
            <a:spLocks noRot="1" noChangeArrowheads="1"/>
          </p:cNvSpPr>
          <p:nvPr/>
        </p:nvSpPr>
        <p:spPr>
          <a:xfrm>
            <a:off x="8461612" y="971388"/>
            <a:ext cx="3648157" cy="1000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864" algn="ctr">
              <a:defRPr/>
            </a:pPr>
            <a: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навательная деятельность</a:t>
            </a:r>
            <a:endParaRPr lang="ru-R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4179562" y="2218437"/>
            <a:ext cx="3882258" cy="377975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anchor="ctr" anchorCtr="0">
            <a:spAutoFit/>
          </a:bodyPr>
          <a:lstStyle/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пространство и форма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зменение и зависимости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количество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неопределенность и данные.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8255150" y="2218438"/>
            <a:ext cx="3882258" cy="377975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anchor="ctr" anchorCtr="0">
            <a:spAutoFit/>
          </a:bodyPr>
          <a:lstStyle/>
          <a:p>
            <a:pPr algn="ctr"/>
            <a:endParaRPr lang="ru-RU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формулировать,</a:t>
            </a:r>
          </a:p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применять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нтерпретировать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9151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162425" y="6454770"/>
            <a:ext cx="2581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УМК по математике </a:t>
            </a:r>
            <a:r>
              <a:rPr lang="ru-RU" sz="1100" b="1" dirty="0" smtClean="0">
                <a:hlinkClick r:id="rId3"/>
              </a:rPr>
              <a:t>Н.Я. </a:t>
            </a:r>
            <a:r>
              <a:rPr lang="ru-RU" sz="1100" b="1" dirty="0" err="1" smtClean="0">
                <a:hlinkClick r:id="rId3"/>
              </a:rPr>
              <a:t>Виленкина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205801" y="939256"/>
            <a:ext cx="9230849" cy="1657350"/>
            <a:chOff x="240697" y="980891"/>
            <a:chExt cx="9230849" cy="1657350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40697" y="980891"/>
              <a:ext cx="9210675" cy="1657350"/>
            </a:xfrm>
            <a:prstGeom prst="rect">
              <a:avLst/>
            </a:prstGeom>
          </p:spPr>
        </p:pic>
        <p:sp>
          <p:nvSpPr>
            <p:cNvPr id="4" name="Прямоугольник 3"/>
            <p:cNvSpPr/>
            <p:nvPr/>
          </p:nvSpPr>
          <p:spPr>
            <a:xfrm>
              <a:off x="6092949" y="1842448"/>
              <a:ext cx="3378597" cy="7957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69634" name="Picture 2" descr="Льда, Мороженое, Вафельный, Десерт, Лето, Сладкий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3634" y="606923"/>
            <a:ext cx="1109149" cy="2218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240698" y="2925721"/>
                <a:ext cx="5641488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b="1" dirty="0" smtClean="0"/>
                  <a:t>Решение</a:t>
                </a: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3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200=600 </m:t>
                    </m:r>
                    <m:d>
                      <m:dPr>
                        <m:ctrlP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р.</m:t>
                        </m:r>
                      </m:e>
                    </m:d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всего у мальчиков;</m:t>
                    </m:r>
                  </m:oMath>
                </a14:m>
                <a:endParaRPr lang="ru-RU" b="0" dirty="0" smtClean="0">
                  <a:ea typeface="Cambria Math" panose="02040503050406030204" pitchFamily="18" charset="0"/>
                </a:endParaRP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3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81=243</m:t>
                    </m:r>
                    <m:d>
                      <m:dPr>
                        <m:ctrlP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р.</m:t>
                        </m:r>
                      </m:e>
                    </m:d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потратили на пряники;</m:t>
                    </m:r>
                  </m:oMath>
                </a14:m>
                <a:endParaRPr lang="ru-RU" b="0" dirty="0" smtClean="0"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0698" y="2925721"/>
                <a:ext cx="5641488" cy="923330"/>
              </a:xfrm>
              <a:prstGeom prst="rect">
                <a:avLst/>
              </a:prstGeom>
              <a:blipFill rotWithShape="0">
                <a:blip r:embed="rId6"/>
                <a:stretch>
                  <a:fillRect l="-864" t="-3974" b="-794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" name="Прямая соединительная линия 7"/>
          <p:cNvCxnSpPr/>
          <p:nvPr/>
        </p:nvCxnSpPr>
        <p:spPr>
          <a:xfrm>
            <a:off x="3111690" y="1269242"/>
            <a:ext cx="2238232" cy="1364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7014950" y="1282890"/>
            <a:ext cx="2238232" cy="1364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240697" y="1575459"/>
            <a:ext cx="878242" cy="5355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3044035" y="1570104"/>
            <a:ext cx="318622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7375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162425" y="6454770"/>
            <a:ext cx="2581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УМК по математике </a:t>
            </a:r>
            <a:r>
              <a:rPr lang="ru-RU" sz="1100" b="1" dirty="0" smtClean="0">
                <a:hlinkClick r:id="rId3"/>
              </a:rPr>
              <a:t>Н.Я. </a:t>
            </a:r>
            <a:r>
              <a:rPr lang="ru-RU" sz="1100" b="1" dirty="0" err="1" smtClean="0">
                <a:hlinkClick r:id="rId3"/>
              </a:rPr>
              <a:t>Виленкина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205801" y="939256"/>
            <a:ext cx="9230849" cy="1657350"/>
            <a:chOff x="240697" y="980891"/>
            <a:chExt cx="9230849" cy="1657350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40697" y="980891"/>
              <a:ext cx="9210675" cy="1657350"/>
            </a:xfrm>
            <a:prstGeom prst="rect">
              <a:avLst/>
            </a:prstGeom>
          </p:spPr>
        </p:pic>
        <p:sp>
          <p:nvSpPr>
            <p:cNvPr id="4" name="Прямоугольник 3"/>
            <p:cNvSpPr/>
            <p:nvPr/>
          </p:nvSpPr>
          <p:spPr>
            <a:xfrm>
              <a:off x="6092949" y="1842448"/>
              <a:ext cx="3378597" cy="7957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69634" name="Picture 2" descr="Льда, Мороженое, Вафельный, Десерт, Лето, Сладкий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3634" y="606923"/>
            <a:ext cx="1109149" cy="2218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240698" y="2925721"/>
                <a:ext cx="5641488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b="1" dirty="0" smtClean="0"/>
                  <a:t>Решение</a:t>
                </a: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3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200=600 </m:t>
                    </m:r>
                    <m:d>
                      <m:dPr>
                        <m:ctrlP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р.</m:t>
                        </m:r>
                      </m:e>
                    </m:d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всего у мальчиков;</m:t>
                    </m:r>
                  </m:oMath>
                </a14:m>
                <a:endParaRPr lang="ru-RU" b="0" dirty="0" smtClean="0">
                  <a:ea typeface="Cambria Math" panose="02040503050406030204" pitchFamily="18" charset="0"/>
                </a:endParaRP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3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81=243</m:t>
                    </m:r>
                    <m:d>
                      <m:dPr>
                        <m:ctrlP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р.</m:t>
                        </m:r>
                      </m:e>
                    </m:d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потратили на пряники;</m:t>
                    </m:r>
                  </m:oMath>
                </a14:m>
                <a:endParaRPr lang="ru-RU" b="0" dirty="0" smtClean="0">
                  <a:ea typeface="Cambria Math" panose="02040503050406030204" pitchFamily="18" charset="0"/>
                </a:endParaRP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400</m:t>
                    </m:r>
                    <m:r>
                      <a:rPr lang="ru-RU" i="1" dirty="0" smtClean="0">
                        <a:latin typeface="Cambria Math" panose="02040503050406030204" pitchFamily="18" charset="0"/>
                      </a:rPr>
                      <m:t>−243</m:t>
                    </m:r>
                    <m:r>
                      <a:rPr lang="ru-RU" b="0" i="0" dirty="0" smtClean="0">
                        <a:latin typeface="Cambria Math" panose="02040503050406030204" pitchFamily="18" charset="0"/>
                      </a:rPr>
                      <m:t>=157 </m:t>
                    </m:r>
                    <m:d>
                      <m:dPr>
                        <m:ctrlPr>
                          <a:rPr lang="ru-RU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0" dirty="0" smtClean="0">
                            <a:latin typeface="Cambria Math" panose="02040503050406030204" pitchFamily="18" charset="0"/>
                          </a:rPr>
                          <m:t>р.</m:t>
                        </m:r>
                      </m:e>
                    </m:d>
                    <m:r>
                      <a:rPr lang="ru-RU" b="0" i="0" dirty="0" smtClean="0">
                        <a:latin typeface="Cambria Math" panose="02040503050406030204" pitchFamily="18" charset="0"/>
                      </a:rPr>
                      <m:t>−сдача;</m:t>
                    </m:r>
                  </m:oMath>
                </a14:m>
                <a:endParaRPr lang="ru-RU" b="0" dirty="0" smtClean="0"/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0698" y="2925721"/>
                <a:ext cx="5641488" cy="1200329"/>
              </a:xfrm>
              <a:prstGeom prst="rect">
                <a:avLst/>
              </a:prstGeom>
              <a:blipFill rotWithShape="0">
                <a:blip r:embed="rId6"/>
                <a:stretch>
                  <a:fillRect l="-864" t="-3046" b="-5584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TextBox 30"/>
          <p:cNvSpPr txBox="1"/>
          <p:nvPr/>
        </p:nvSpPr>
        <p:spPr>
          <a:xfrm>
            <a:off x="6092949" y="3020526"/>
            <a:ext cx="56414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Ответ</a:t>
            </a:r>
          </a:p>
          <a:p>
            <a:r>
              <a:rPr lang="ru-RU" dirty="0" smtClean="0"/>
              <a:t>а) 2 купюры, 157 рублей сдачи;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3044035" y="1570104"/>
            <a:ext cx="318622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5184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162425" y="6454770"/>
            <a:ext cx="2581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УМК по математике </a:t>
            </a:r>
            <a:r>
              <a:rPr lang="ru-RU" sz="1100" b="1" dirty="0" smtClean="0">
                <a:hlinkClick r:id="rId3"/>
              </a:rPr>
              <a:t>Н.Я. </a:t>
            </a:r>
            <a:r>
              <a:rPr lang="ru-RU" sz="1100" b="1" dirty="0" err="1" smtClean="0">
                <a:hlinkClick r:id="rId3"/>
              </a:rPr>
              <a:t>Виленкина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205801" y="939256"/>
            <a:ext cx="9230849" cy="1657350"/>
            <a:chOff x="240697" y="980891"/>
            <a:chExt cx="9230849" cy="1657350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40697" y="980891"/>
              <a:ext cx="9210675" cy="1657350"/>
            </a:xfrm>
            <a:prstGeom prst="rect">
              <a:avLst/>
            </a:prstGeom>
          </p:spPr>
        </p:pic>
        <p:sp>
          <p:nvSpPr>
            <p:cNvPr id="4" name="Прямоугольник 3"/>
            <p:cNvSpPr/>
            <p:nvPr/>
          </p:nvSpPr>
          <p:spPr>
            <a:xfrm>
              <a:off x="6092949" y="1842448"/>
              <a:ext cx="3378597" cy="7957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69634" name="Picture 2" descr="Льда, Мороженое, Вафельный, Десерт, Лето, Сладкий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3634" y="606923"/>
            <a:ext cx="1109149" cy="2218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240698" y="2925721"/>
                <a:ext cx="5641488" cy="14773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b="1" dirty="0" smtClean="0"/>
                  <a:t>Решение</a:t>
                </a: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3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200=600 </m:t>
                    </m:r>
                    <m:d>
                      <m:dPr>
                        <m:ctrlP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р.</m:t>
                        </m:r>
                      </m:e>
                    </m:d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всего у мальчиков;</m:t>
                    </m:r>
                  </m:oMath>
                </a14:m>
                <a:endParaRPr lang="ru-RU" b="0" dirty="0" smtClean="0">
                  <a:ea typeface="Cambria Math" panose="02040503050406030204" pitchFamily="18" charset="0"/>
                </a:endParaRP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3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81=243</m:t>
                    </m:r>
                    <m:d>
                      <m:dPr>
                        <m:ctrlP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р.</m:t>
                        </m:r>
                      </m:e>
                    </m:d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потратили на пряники;</m:t>
                    </m:r>
                  </m:oMath>
                </a14:m>
                <a:endParaRPr lang="ru-RU" b="0" dirty="0" smtClean="0">
                  <a:ea typeface="Cambria Math" panose="02040503050406030204" pitchFamily="18" charset="0"/>
                </a:endParaRP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400</m:t>
                    </m:r>
                    <m:r>
                      <a:rPr lang="ru-RU" i="1" dirty="0" smtClean="0">
                        <a:latin typeface="Cambria Math" panose="02040503050406030204" pitchFamily="18" charset="0"/>
                      </a:rPr>
                      <m:t>−243</m:t>
                    </m:r>
                    <m:r>
                      <a:rPr lang="ru-RU" b="0" i="0" dirty="0" smtClean="0">
                        <a:latin typeface="Cambria Math" panose="02040503050406030204" pitchFamily="18" charset="0"/>
                      </a:rPr>
                      <m:t>=157 </m:t>
                    </m:r>
                    <m:d>
                      <m:dPr>
                        <m:ctrlPr>
                          <a:rPr lang="ru-RU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0" dirty="0" smtClean="0">
                            <a:latin typeface="Cambria Math" panose="02040503050406030204" pitchFamily="18" charset="0"/>
                          </a:rPr>
                          <m:t>р.</m:t>
                        </m:r>
                      </m:e>
                    </m:d>
                    <m:r>
                      <a:rPr lang="ru-RU" b="0" i="0" dirty="0" smtClean="0">
                        <a:latin typeface="Cambria Math" panose="02040503050406030204" pitchFamily="18" charset="0"/>
                      </a:rPr>
                      <m:t>−сдача;</m:t>
                    </m:r>
                  </m:oMath>
                </a14:m>
                <a:endParaRPr lang="ru-RU" b="0" dirty="0" smtClean="0"/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157:60=2 (ост. 37 р.)</m:t>
                    </m:r>
                  </m:oMath>
                </a14:m>
                <a:r>
                  <a:rPr lang="ru-RU" dirty="0" smtClean="0"/>
                  <a:t>;</a:t>
                </a:r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0698" y="2925721"/>
                <a:ext cx="5641488" cy="1477328"/>
              </a:xfrm>
              <a:prstGeom prst="rect">
                <a:avLst/>
              </a:prstGeom>
              <a:blipFill rotWithShape="0">
                <a:blip r:embed="rId6"/>
                <a:stretch>
                  <a:fillRect l="-864" t="-2479" b="-578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TextBox 30"/>
          <p:cNvSpPr txBox="1"/>
          <p:nvPr/>
        </p:nvSpPr>
        <p:spPr>
          <a:xfrm>
            <a:off x="6092949" y="3020526"/>
            <a:ext cx="56414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Ответ</a:t>
            </a:r>
          </a:p>
          <a:p>
            <a:r>
              <a:rPr lang="ru-RU" dirty="0" smtClean="0"/>
              <a:t>а) 2 купюры, 157 рублей сдачи;</a:t>
            </a:r>
          </a:p>
          <a:p>
            <a:r>
              <a:rPr lang="ru-RU" dirty="0" smtClean="0"/>
              <a:t>б) 2 пачки мороженого;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3044035" y="1570104"/>
            <a:ext cx="318622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Льда, Мороженое, Вафельный, Десерт, Лето, Сладкий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4319" y="567355"/>
            <a:ext cx="1109149" cy="2218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1877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162425" y="6454770"/>
            <a:ext cx="2581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УМК по математике </a:t>
            </a:r>
            <a:r>
              <a:rPr lang="ru-RU" sz="1100" b="1" dirty="0" smtClean="0">
                <a:hlinkClick r:id="rId3"/>
              </a:rPr>
              <a:t>Н.Я. </a:t>
            </a:r>
            <a:r>
              <a:rPr lang="ru-RU" sz="1100" b="1" dirty="0" err="1" smtClean="0">
                <a:hlinkClick r:id="rId3"/>
              </a:rPr>
              <a:t>Виленкина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205801" y="939256"/>
            <a:ext cx="9230849" cy="1657350"/>
            <a:chOff x="240697" y="980891"/>
            <a:chExt cx="9230849" cy="1657350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40697" y="980891"/>
              <a:ext cx="9210675" cy="1657350"/>
            </a:xfrm>
            <a:prstGeom prst="rect">
              <a:avLst/>
            </a:prstGeom>
          </p:spPr>
        </p:pic>
        <p:sp>
          <p:nvSpPr>
            <p:cNvPr id="4" name="Прямоугольник 3"/>
            <p:cNvSpPr/>
            <p:nvPr/>
          </p:nvSpPr>
          <p:spPr>
            <a:xfrm>
              <a:off x="6092949" y="1842448"/>
              <a:ext cx="3378597" cy="7957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240698" y="2925721"/>
                <a:ext cx="5641488" cy="17543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b="1" dirty="0" smtClean="0"/>
                  <a:t>Решение</a:t>
                </a: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3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200=600 </m:t>
                    </m:r>
                    <m:d>
                      <m:dPr>
                        <m:ctrlP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р.</m:t>
                        </m:r>
                      </m:e>
                    </m:d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всего у мальчиков;</m:t>
                    </m:r>
                  </m:oMath>
                </a14:m>
                <a:endParaRPr lang="ru-RU" b="0" dirty="0" smtClean="0">
                  <a:ea typeface="Cambria Math" panose="02040503050406030204" pitchFamily="18" charset="0"/>
                </a:endParaRP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3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81=243</m:t>
                    </m:r>
                    <m:d>
                      <m:dPr>
                        <m:ctrlP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р.</m:t>
                        </m:r>
                      </m:e>
                    </m:d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потратили на пряники;</m:t>
                    </m:r>
                  </m:oMath>
                </a14:m>
                <a:endParaRPr lang="ru-RU" b="0" dirty="0" smtClean="0">
                  <a:ea typeface="Cambria Math" panose="02040503050406030204" pitchFamily="18" charset="0"/>
                </a:endParaRP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400</m:t>
                    </m:r>
                    <m:r>
                      <a:rPr lang="ru-RU" i="1" dirty="0" smtClean="0">
                        <a:latin typeface="Cambria Math" panose="02040503050406030204" pitchFamily="18" charset="0"/>
                      </a:rPr>
                      <m:t>−243</m:t>
                    </m:r>
                    <m:r>
                      <a:rPr lang="ru-RU" b="0" i="0" dirty="0" smtClean="0">
                        <a:latin typeface="Cambria Math" panose="02040503050406030204" pitchFamily="18" charset="0"/>
                      </a:rPr>
                      <m:t>=157 </m:t>
                    </m:r>
                    <m:d>
                      <m:dPr>
                        <m:ctrlPr>
                          <a:rPr lang="ru-RU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0" dirty="0" smtClean="0">
                            <a:latin typeface="Cambria Math" panose="02040503050406030204" pitchFamily="18" charset="0"/>
                          </a:rPr>
                          <m:t>р.</m:t>
                        </m:r>
                      </m:e>
                    </m:d>
                    <m:r>
                      <a:rPr lang="ru-RU" b="0" i="0" dirty="0" smtClean="0">
                        <a:latin typeface="Cambria Math" panose="02040503050406030204" pitchFamily="18" charset="0"/>
                      </a:rPr>
                      <m:t>−сдача;</m:t>
                    </m:r>
                  </m:oMath>
                </a14:m>
                <a:endParaRPr lang="ru-RU" b="0" dirty="0" smtClean="0"/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157:60=2 (ост. 37 р.)</m:t>
                    </m:r>
                  </m:oMath>
                </a14:m>
                <a:r>
                  <a:rPr lang="ru-RU" dirty="0" smtClean="0"/>
                  <a:t>;</a:t>
                </a: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i="1" dirty="0" smtClean="0">
                        <a:latin typeface="Cambria Math" panose="02040503050406030204" pitchFamily="18" charset="0"/>
                      </a:rPr>
                      <m:t>200+</m:t>
                    </m:r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37=237 </m:t>
                    </m:r>
                    <m:d>
                      <m:dPr>
                        <m:ctrlPr>
                          <a:rPr lang="ru-RU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1" dirty="0" smtClean="0">
                            <a:latin typeface="Cambria Math" panose="02040503050406030204" pitchFamily="18" charset="0"/>
                          </a:rPr>
                          <m:t>р.</m:t>
                        </m:r>
                      </m:e>
                    </m:d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lang="ru-RU" dirty="0"/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0698" y="2925721"/>
                <a:ext cx="5641488" cy="1754326"/>
              </a:xfrm>
              <a:prstGeom prst="rect">
                <a:avLst/>
              </a:prstGeom>
              <a:blipFill rotWithShape="0">
                <a:blip r:embed="rId5"/>
                <a:stretch>
                  <a:fillRect l="-864" t="-2083" b="-347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TextBox 30"/>
          <p:cNvSpPr txBox="1"/>
          <p:nvPr/>
        </p:nvSpPr>
        <p:spPr>
          <a:xfrm>
            <a:off x="6092949" y="3020526"/>
            <a:ext cx="56414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Ответ</a:t>
            </a:r>
          </a:p>
          <a:p>
            <a:r>
              <a:rPr lang="ru-RU" dirty="0" smtClean="0"/>
              <a:t>а) 2 купюры, 157 рублей сдачи;</a:t>
            </a:r>
          </a:p>
          <a:p>
            <a:r>
              <a:rPr lang="ru-RU" dirty="0" smtClean="0"/>
              <a:t>б) 2 пачки мороженого;</a:t>
            </a:r>
          </a:p>
          <a:p>
            <a:r>
              <a:rPr lang="ru-RU" dirty="0" smtClean="0"/>
              <a:t>Осталось 237 рублей.</a:t>
            </a:r>
            <a:endParaRPr lang="ru-RU" dirty="0"/>
          </a:p>
        </p:txBody>
      </p:sp>
      <p:pic>
        <p:nvPicPr>
          <p:cNvPr id="32" name="Picture 2" descr="Льда, Мороженое, Вафельный, Десерт, Лето, Сладкий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3634" y="606923"/>
            <a:ext cx="1109149" cy="2218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Льда, Мороженое, Вафельный, Десерт, Лето, Сладкий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4319" y="567355"/>
            <a:ext cx="1109149" cy="2218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5393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162425" y="6454770"/>
            <a:ext cx="2581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УМК по математике </a:t>
            </a:r>
            <a:r>
              <a:rPr lang="ru-RU" sz="1100" b="1" dirty="0" smtClean="0">
                <a:hlinkClick r:id="rId3"/>
              </a:rPr>
              <a:t>Н.Я. </a:t>
            </a:r>
            <a:r>
              <a:rPr lang="ru-RU" sz="1100" b="1" dirty="0" err="1" smtClean="0">
                <a:hlinkClick r:id="rId3"/>
              </a:rPr>
              <a:t>Виленкина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0697" y="1099498"/>
            <a:ext cx="9239250" cy="1028700"/>
          </a:xfrm>
          <a:prstGeom prst="rect">
            <a:avLst/>
          </a:prstGeom>
        </p:spPr>
      </p:pic>
      <p:pic>
        <p:nvPicPr>
          <p:cNvPr id="71682" name="Picture 2" descr="Падение, Кран, Нажмите, Воды, Водослива, Капля Воды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1205" y="643047"/>
            <a:ext cx="1354776" cy="1783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8900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162425" y="6454770"/>
            <a:ext cx="2581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УМК по математике </a:t>
            </a:r>
            <a:r>
              <a:rPr lang="ru-RU" sz="1100" b="1" dirty="0" smtClean="0">
                <a:hlinkClick r:id="rId3"/>
              </a:rPr>
              <a:t>Н.Я. </a:t>
            </a:r>
            <a:r>
              <a:rPr lang="ru-RU" sz="1100" b="1" dirty="0" err="1" smtClean="0">
                <a:hlinkClick r:id="rId3"/>
              </a:rPr>
              <a:t>Виленкина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0697" y="1099498"/>
            <a:ext cx="9239250" cy="1028700"/>
          </a:xfrm>
          <a:prstGeom prst="rect">
            <a:avLst/>
          </a:prstGeom>
        </p:spPr>
      </p:pic>
      <p:pic>
        <p:nvPicPr>
          <p:cNvPr id="71682" name="Picture 2" descr="Падение, Кран, Нажмите, Воды, Водослива, Капля Воды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1205" y="643047"/>
            <a:ext cx="1354776" cy="1783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382253" y="2344793"/>
            <a:ext cx="64850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1 минута = 60 секунд; 1 час = 60 минут; 1 сутки = 24 часа</a:t>
            </a:r>
            <a:endParaRPr lang="ru-RU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6845966" y="2080070"/>
            <a:ext cx="245233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2178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162425" y="6454770"/>
            <a:ext cx="2581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УМК по математике </a:t>
            </a:r>
            <a:r>
              <a:rPr lang="ru-RU" sz="1100" b="1" dirty="0" smtClean="0">
                <a:hlinkClick r:id="rId3"/>
              </a:rPr>
              <a:t>Н.Я. </a:t>
            </a:r>
            <a:r>
              <a:rPr lang="ru-RU" sz="1100" b="1" dirty="0" err="1" smtClean="0">
                <a:hlinkClick r:id="rId3"/>
              </a:rPr>
              <a:t>Виленкина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0697" y="1099498"/>
            <a:ext cx="9239250" cy="1028700"/>
          </a:xfrm>
          <a:prstGeom prst="rect">
            <a:avLst/>
          </a:prstGeom>
        </p:spPr>
      </p:pic>
      <p:pic>
        <p:nvPicPr>
          <p:cNvPr id="71682" name="Picture 2" descr="Падение, Кран, Нажмите, Воды, Водослива, Капля Воды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1205" y="643047"/>
            <a:ext cx="1354776" cy="1783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/>
              <p:cNvSpPr txBox="1"/>
              <p:nvPr/>
            </p:nvSpPr>
            <p:spPr>
              <a:xfrm>
                <a:off x="240698" y="2925721"/>
                <a:ext cx="774827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b="1" dirty="0" smtClean="0"/>
                  <a:t>Решение</a:t>
                </a: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30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60=1 800 </m:t>
                    </m:r>
                    <m:d>
                      <m:dPr>
                        <m:ctrlP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капель</m:t>
                        </m:r>
                      </m:e>
                    </m:d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за час;</m:t>
                    </m:r>
                  </m:oMath>
                </a14:m>
                <a:endParaRPr lang="ru-RU" b="0" dirty="0" smtClean="0">
                  <a:ea typeface="Cambria Math" panose="02040503050406030204" pitchFamily="18" charset="0"/>
                </a:endParaRP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24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1800=43 200</m:t>
                    </m:r>
                    <m:d>
                      <m:dPr>
                        <m:ctrlP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капель</m:t>
                        </m:r>
                      </m:e>
                    </m:d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за сутки;</m:t>
                    </m:r>
                  </m:oMath>
                </a14:m>
                <a:endParaRPr lang="ru-RU" b="0" dirty="0" smtClean="0"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31" name="TextBox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0698" y="2925721"/>
                <a:ext cx="7748270" cy="923330"/>
              </a:xfrm>
              <a:prstGeom prst="rect">
                <a:avLst/>
              </a:prstGeom>
              <a:blipFill rotWithShape="0">
                <a:blip r:embed="rId6"/>
                <a:stretch>
                  <a:fillRect l="-629" t="-3974" b="-794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/>
          <p:cNvSpPr txBox="1"/>
          <p:nvPr/>
        </p:nvSpPr>
        <p:spPr>
          <a:xfrm>
            <a:off x="2382253" y="2344793"/>
            <a:ext cx="64850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1 минута = 60 секунд; 1 час = 60 минут; 1 сутки = 24 часа</a:t>
            </a:r>
            <a:endParaRPr lang="ru-RU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6845966" y="2080070"/>
            <a:ext cx="245233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6659203" y="2956285"/>
            <a:ext cx="49392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Ответ</a:t>
            </a:r>
          </a:p>
          <a:p>
            <a:r>
              <a:rPr lang="ru-RU" dirty="0" smtClean="0"/>
              <a:t>а) 1 800 капель, 43 200 капель;</a:t>
            </a:r>
          </a:p>
        </p:txBody>
      </p:sp>
    </p:spTree>
    <p:extLst>
      <p:ext uri="{BB962C8B-B14F-4D97-AF65-F5344CB8AC3E}">
        <p14:creationId xmlns:p14="http://schemas.microsoft.com/office/powerpoint/2010/main" val="2150168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162425" y="6454770"/>
            <a:ext cx="2581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УМК по математике </a:t>
            </a:r>
            <a:r>
              <a:rPr lang="ru-RU" sz="1100" b="1" dirty="0" smtClean="0">
                <a:hlinkClick r:id="rId3"/>
              </a:rPr>
              <a:t>Н.Я. </a:t>
            </a:r>
            <a:r>
              <a:rPr lang="ru-RU" sz="1100" b="1" dirty="0" err="1" smtClean="0">
                <a:hlinkClick r:id="rId3"/>
              </a:rPr>
              <a:t>Виленкина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0697" y="1099498"/>
            <a:ext cx="9239250" cy="1028700"/>
          </a:xfrm>
          <a:prstGeom prst="rect">
            <a:avLst/>
          </a:prstGeom>
        </p:spPr>
      </p:pic>
      <p:pic>
        <p:nvPicPr>
          <p:cNvPr id="71682" name="Picture 2" descr="Падение, Кран, Нажмите, Воды, Водослива, Капля Воды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1205" y="643047"/>
            <a:ext cx="1354776" cy="1783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/>
              <p:cNvSpPr txBox="1"/>
              <p:nvPr/>
            </p:nvSpPr>
            <p:spPr>
              <a:xfrm>
                <a:off x="240698" y="2925721"/>
                <a:ext cx="7748270" cy="14773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b="1" dirty="0" smtClean="0"/>
                  <a:t>Решение</a:t>
                </a: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30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60=1 800 </m:t>
                    </m:r>
                    <m:d>
                      <m:dPr>
                        <m:ctrlP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капель</m:t>
                        </m:r>
                      </m:e>
                    </m:d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за час;</m:t>
                    </m:r>
                  </m:oMath>
                </a14:m>
                <a:endParaRPr lang="ru-RU" b="0" dirty="0" smtClean="0">
                  <a:ea typeface="Cambria Math" panose="02040503050406030204" pitchFamily="18" charset="0"/>
                </a:endParaRP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24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1800=43 200</m:t>
                    </m:r>
                    <m:d>
                      <m:dPr>
                        <m:ctrlP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капель</m:t>
                        </m:r>
                      </m:e>
                    </m:d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за сутки;</m:t>
                    </m:r>
                  </m:oMath>
                </a14:m>
                <a:endParaRPr lang="ru-RU" b="0" dirty="0" smtClean="0">
                  <a:ea typeface="Cambria Math" panose="02040503050406030204" pitchFamily="18" charset="0"/>
                </a:endParaRP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43 200:100</m:t>
                    </m:r>
                    <m:r>
                      <a:rPr lang="ru-RU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7=3 024</m:t>
                    </m:r>
                    <m:r>
                      <a:rPr lang="ru-RU" b="0" i="0" dirty="0" smtClean="0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ctrlPr>
                          <a:rPr lang="ru-RU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0" dirty="0" smtClean="0">
                            <a:latin typeface="Cambria Math" panose="02040503050406030204" pitchFamily="18" charset="0"/>
                          </a:rPr>
                          <m:t>г</m:t>
                        </m:r>
                      </m:e>
                    </m:d>
                    <m:r>
                      <a:rPr lang="ru-RU" b="0" i="0" dirty="0" smtClean="0">
                        <a:latin typeface="Cambria Math" panose="02040503050406030204" pitchFamily="18" charset="0"/>
                      </a:rPr>
                      <m:t>−воды вытечет за сутки.</m:t>
                    </m:r>
                  </m:oMath>
                </a14:m>
                <a:endParaRPr lang="ru-RU" b="0" dirty="0" smtClean="0"/>
              </a:p>
              <a:p>
                <a:pPr marL="342900" indent="-342900">
                  <a:buAutoNum type="arabicParenR"/>
                </a:pPr>
                <a:endParaRPr lang="ru-RU" b="0" dirty="0" smtClean="0"/>
              </a:p>
            </p:txBody>
          </p:sp>
        </mc:Choice>
        <mc:Fallback xmlns="">
          <p:sp>
            <p:nvSpPr>
              <p:cNvPr id="31" name="TextBox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0698" y="2925721"/>
                <a:ext cx="7748270" cy="1477328"/>
              </a:xfrm>
              <a:prstGeom prst="rect">
                <a:avLst/>
              </a:prstGeom>
              <a:blipFill rotWithShape="0">
                <a:blip r:embed="rId6"/>
                <a:stretch>
                  <a:fillRect l="-629" t="-247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/>
          <p:cNvSpPr txBox="1"/>
          <p:nvPr/>
        </p:nvSpPr>
        <p:spPr>
          <a:xfrm>
            <a:off x="2382253" y="2344793"/>
            <a:ext cx="64850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1 минута = 60 секунд; 1 час = 60 минут; 1 сутки = 24 часа</a:t>
            </a:r>
            <a:endParaRPr lang="ru-RU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6845966" y="2080070"/>
            <a:ext cx="245233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6659203" y="2956285"/>
            <a:ext cx="49392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Ответ</a:t>
            </a:r>
          </a:p>
          <a:p>
            <a:r>
              <a:rPr lang="ru-RU" dirty="0" smtClean="0"/>
              <a:t>а) 1 800 капель, 43 200 капель;</a:t>
            </a:r>
          </a:p>
          <a:p>
            <a:r>
              <a:rPr lang="ru-RU" dirty="0" smtClean="0"/>
              <a:t>б) 3 024 г</a:t>
            </a:r>
          </a:p>
        </p:txBody>
      </p:sp>
    </p:spTree>
    <p:extLst>
      <p:ext uri="{BB962C8B-B14F-4D97-AF65-F5344CB8AC3E}">
        <p14:creationId xmlns:p14="http://schemas.microsoft.com/office/powerpoint/2010/main" val="711396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162425" y="6454770"/>
            <a:ext cx="2581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УМК по математике </a:t>
            </a:r>
            <a:r>
              <a:rPr lang="ru-RU" sz="1100" b="1" dirty="0" smtClean="0">
                <a:hlinkClick r:id="rId3"/>
              </a:rPr>
              <a:t>Н.Я. </a:t>
            </a:r>
            <a:r>
              <a:rPr lang="ru-RU" sz="1100" b="1" dirty="0" err="1" smtClean="0">
                <a:hlinkClick r:id="rId3"/>
              </a:rPr>
              <a:t>Виленкина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0697" y="1099498"/>
            <a:ext cx="9239250" cy="1028700"/>
          </a:xfrm>
          <a:prstGeom prst="rect">
            <a:avLst/>
          </a:prstGeom>
        </p:spPr>
      </p:pic>
      <p:pic>
        <p:nvPicPr>
          <p:cNvPr id="71682" name="Picture 2" descr="Падение, Кран, Нажмите, Воды, Водослива, Капля Воды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1205" y="643047"/>
            <a:ext cx="1354776" cy="1783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/>
              <p:cNvSpPr txBox="1"/>
              <p:nvPr/>
            </p:nvSpPr>
            <p:spPr>
              <a:xfrm>
                <a:off x="240698" y="2925721"/>
                <a:ext cx="7748270" cy="17543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b="1" dirty="0" smtClean="0"/>
                  <a:t>Решение</a:t>
                </a: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30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60=1 800 </m:t>
                    </m:r>
                    <m:d>
                      <m:dPr>
                        <m:ctrlP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капель</m:t>
                        </m:r>
                      </m:e>
                    </m:d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за час;</m:t>
                    </m:r>
                  </m:oMath>
                </a14:m>
                <a:endParaRPr lang="ru-RU" b="0" dirty="0" smtClean="0">
                  <a:ea typeface="Cambria Math" panose="02040503050406030204" pitchFamily="18" charset="0"/>
                </a:endParaRP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smtClean="0">
                        <a:latin typeface="Cambria Math" panose="02040503050406030204" pitchFamily="18" charset="0"/>
                      </a:rPr>
                      <m:t>24</m:t>
                    </m:r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1800=43 200</m:t>
                    </m:r>
                    <m:d>
                      <m:dPr>
                        <m:ctrlP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капель</m:t>
                        </m:r>
                      </m:e>
                    </m:d>
                    <m:r>
                      <a:rPr lang="ru-RU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за сутки;</m:t>
                    </m:r>
                  </m:oMath>
                </a14:m>
                <a:endParaRPr lang="ru-RU" b="0" dirty="0" smtClean="0">
                  <a:ea typeface="Cambria Math" panose="02040503050406030204" pitchFamily="18" charset="0"/>
                </a:endParaRPr>
              </a:p>
              <a:p>
                <a:pPr marL="342900" indent="-342900">
                  <a:buAutoNum type="arabicParenR"/>
                </a:pPr>
                <a14:m>
                  <m:oMath xmlns:m="http://schemas.openxmlformats.org/officeDocument/2006/math">
                    <m:r>
                      <a:rPr lang="ru-RU" b="0" i="1" dirty="0" smtClean="0">
                        <a:latin typeface="Cambria Math" panose="02040503050406030204" pitchFamily="18" charset="0"/>
                      </a:rPr>
                      <m:t>43 200:100</m:t>
                    </m:r>
                    <m:r>
                      <a:rPr lang="ru-RU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7=3 024</m:t>
                    </m:r>
                    <m:r>
                      <a:rPr lang="ru-RU" b="0" i="0" dirty="0" smtClean="0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ctrlPr>
                          <a:rPr lang="ru-RU" b="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b="0" i="0" dirty="0" smtClean="0">
                            <a:latin typeface="Cambria Math" panose="02040503050406030204" pitchFamily="18" charset="0"/>
                          </a:rPr>
                          <m:t>г</m:t>
                        </m:r>
                      </m:e>
                    </m:d>
                    <m:r>
                      <a:rPr lang="ru-RU" b="0" i="0" dirty="0" smtClean="0">
                        <a:latin typeface="Cambria Math" panose="02040503050406030204" pitchFamily="18" charset="0"/>
                      </a:rPr>
                      <m:t>−воды вытечет за сутки.</m:t>
                    </m:r>
                  </m:oMath>
                </a14:m>
                <a:endParaRPr lang="ru-RU" b="0" dirty="0" smtClean="0"/>
              </a:p>
              <a:p>
                <a:pPr marL="342900" indent="-342900">
                  <a:buAutoNum type="arabicParenR"/>
                </a:pPr>
                <a:endParaRPr lang="ru-RU" b="0" dirty="0" smtClean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3 024 г</m:t>
                      </m:r>
                      <m:r>
                        <a:rPr lang="ru-RU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3 кг</m:t>
                      </m:r>
                    </m:oMath>
                  </m:oMathPara>
                </a14:m>
                <a:endParaRPr lang="ru-RU" b="0" dirty="0" smtClean="0"/>
              </a:p>
            </p:txBody>
          </p:sp>
        </mc:Choice>
        <mc:Fallback xmlns="">
          <p:sp>
            <p:nvSpPr>
              <p:cNvPr id="31" name="TextBox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0698" y="2925721"/>
                <a:ext cx="7748270" cy="1754326"/>
              </a:xfrm>
              <a:prstGeom prst="rect">
                <a:avLst/>
              </a:prstGeom>
              <a:blipFill rotWithShape="0">
                <a:blip r:embed="rId6"/>
                <a:stretch>
                  <a:fillRect l="-629" t="-208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/>
          <p:cNvSpPr txBox="1"/>
          <p:nvPr/>
        </p:nvSpPr>
        <p:spPr>
          <a:xfrm>
            <a:off x="2382253" y="2344793"/>
            <a:ext cx="64850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1 минута = 60 секунд; 1 час = 60 минут; 1 сутки = 24 часа</a:t>
            </a:r>
            <a:endParaRPr lang="ru-RU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6845966" y="2080070"/>
            <a:ext cx="2452339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6659203" y="2956285"/>
            <a:ext cx="49392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Ответ</a:t>
            </a:r>
          </a:p>
          <a:p>
            <a:r>
              <a:rPr lang="ru-RU" dirty="0" smtClean="0"/>
              <a:t>а) 1 800 капель, 43 200 капель;</a:t>
            </a:r>
          </a:p>
          <a:p>
            <a:r>
              <a:rPr lang="ru-RU" dirty="0" smtClean="0"/>
              <a:t>б) 3 024 г (примерно 3 кг).</a:t>
            </a:r>
          </a:p>
        </p:txBody>
      </p:sp>
    </p:spTree>
    <p:extLst>
      <p:ext uri="{BB962C8B-B14F-4D97-AF65-F5344CB8AC3E}">
        <p14:creationId xmlns:p14="http://schemas.microsoft.com/office/powerpoint/2010/main" val="3366778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162425" y="6454770"/>
            <a:ext cx="2581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УМК по математике </a:t>
            </a:r>
            <a:r>
              <a:rPr lang="ru-RU" sz="1100" b="1" dirty="0" smtClean="0">
                <a:hlinkClick r:id="rId3"/>
              </a:rPr>
              <a:t>Н.Я. </a:t>
            </a:r>
            <a:r>
              <a:rPr lang="ru-RU" sz="1100" b="1" dirty="0" err="1" smtClean="0">
                <a:hlinkClick r:id="rId3"/>
              </a:rPr>
              <a:t>Виленкина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5988" y="633520"/>
            <a:ext cx="7953375" cy="344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03725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07850" y="1380322"/>
            <a:ext cx="1142507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ru-RU" sz="2400" dirty="0"/>
              <a:t>Рассмотрите задания.</a:t>
            </a:r>
          </a:p>
          <a:p>
            <a:pPr lvl="0">
              <a:lnSpc>
                <a:spcPct val="150000"/>
              </a:lnSpc>
            </a:pPr>
            <a:r>
              <a:rPr lang="ru-RU" sz="2400" dirty="0"/>
              <a:t>Определите, к какому виду относится задание (</a:t>
            </a:r>
            <a:r>
              <a:rPr lang="en-US" sz="2400" dirty="0"/>
              <a:t>PISA</a:t>
            </a:r>
            <a:r>
              <a:rPr lang="ru-RU" sz="2400" dirty="0"/>
              <a:t> – не </a:t>
            </a:r>
            <a:r>
              <a:rPr lang="en-US" sz="2400" dirty="0"/>
              <a:t>PISA</a:t>
            </a:r>
            <a:r>
              <a:rPr lang="ru-RU" sz="2400" dirty="0"/>
              <a:t> – почти </a:t>
            </a:r>
            <a:r>
              <a:rPr lang="en-US" sz="2400" dirty="0"/>
              <a:t>PISA</a:t>
            </a:r>
            <a:r>
              <a:rPr lang="ru-RU" sz="2400" dirty="0"/>
              <a:t>). </a:t>
            </a:r>
            <a:endParaRPr lang="en-US" sz="2400" dirty="0" smtClean="0"/>
          </a:p>
          <a:p>
            <a:pPr lvl="0">
              <a:lnSpc>
                <a:spcPct val="150000"/>
              </a:lnSpc>
            </a:pPr>
            <a:r>
              <a:rPr lang="ru-RU" sz="2400" dirty="0" smtClean="0"/>
              <a:t>Ответьте </a:t>
            </a:r>
            <a:r>
              <a:rPr lang="ru-RU" sz="2400" dirty="0"/>
              <a:t>на вопросы: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400" dirty="0"/>
              <a:t>Соответствует ли задание, относящееся к  PISA, формальной структуре? </a:t>
            </a:r>
            <a:endParaRPr lang="en-US" sz="2400" dirty="0" smtClean="0"/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400" dirty="0" smtClean="0"/>
              <a:t>Можно </a:t>
            </a:r>
            <a:r>
              <a:rPr lang="ru-RU" sz="2400" dirty="0"/>
              <a:t>ли использовать </a:t>
            </a:r>
            <a:r>
              <a:rPr lang="ru-RU" sz="2400" dirty="0" smtClean="0"/>
              <a:t>задание в </a:t>
            </a:r>
            <a:r>
              <a:rPr lang="ru-RU" sz="2400" dirty="0"/>
              <a:t>учебном процессе для формирования функциональной грамотности?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882422" y="196637"/>
            <a:ext cx="5553251" cy="40902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400" b="1" dirty="0">
                <a:solidFill>
                  <a:srgbClr val="2D2B8D"/>
                </a:solidFill>
                <a:latin typeface="+mj-lt"/>
                <a:ea typeface="Open Sans Condensed" pitchFamily="34" charset="0"/>
                <a:cs typeface="Open Sans Condensed" pitchFamily="34" charset="0"/>
              </a:rPr>
              <a:t>Определение характеристик заданий </a:t>
            </a:r>
            <a:r>
              <a:rPr lang="en-US" sz="2400" b="1" dirty="0">
                <a:solidFill>
                  <a:srgbClr val="2D2B8D"/>
                </a:solidFill>
                <a:latin typeface="+mj-lt"/>
                <a:ea typeface="Open Sans Condensed" pitchFamily="34" charset="0"/>
                <a:cs typeface="Open Sans Condensed" pitchFamily="34" charset="0"/>
              </a:rPr>
              <a:t>PISA</a:t>
            </a:r>
            <a:endParaRPr lang="ru-RU" sz="2400" b="1" dirty="0">
              <a:solidFill>
                <a:srgbClr val="2D2B8D"/>
              </a:solidFill>
              <a:latin typeface="+mj-lt"/>
              <a:ea typeface="Open Sans Condensed" pitchFamily="34" charset="0"/>
              <a:cs typeface="Open Sans Condens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272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162425" y="6454770"/>
            <a:ext cx="2581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УМК по математике </a:t>
            </a:r>
            <a:r>
              <a:rPr lang="ru-RU" sz="1100" b="1" dirty="0" smtClean="0">
                <a:hlinkClick r:id="rId3"/>
              </a:rPr>
              <a:t>Н.Я. </a:t>
            </a:r>
            <a:r>
              <a:rPr lang="ru-RU" sz="1100" b="1" dirty="0" err="1" smtClean="0">
                <a:hlinkClick r:id="rId3"/>
              </a:rPr>
              <a:t>Виленкина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5988" y="633520"/>
            <a:ext cx="7953375" cy="344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6" name="Прямая соединительная линия 25"/>
          <p:cNvCxnSpPr/>
          <p:nvPr/>
        </p:nvCxnSpPr>
        <p:spPr>
          <a:xfrm flipV="1">
            <a:off x="6087977" y="3188368"/>
            <a:ext cx="3838076" cy="1063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 flipV="1">
            <a:off x="2257924" y="3409514"/>
            <a:ext cx="2662992" cy="1704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4162425" y="3188368"/>
            <a:ext cx="962776" cy="95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5526512" y="3404302"/>
            <a:ext cx="1217222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9749596" y="3418035"/>
            <a:ext cx="296772" cy="8522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 flipV="1">
            <a:off x="2257924" y="3609598"/>
            <a:ext cx="5550571" cy="1064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2456444" y="3824582"/>
            <a:ext cx="2996635" cy="2497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6591273" y="3849553"/>
            <a:ext cx="333478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 flipV="1">
            <a:off x="2287371" y="4081570"/>
            <a:ext cx="2549324" cy="1039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1274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162425" y="6454770"/>
            <a:ext cx="2581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УМК по математике </a:t>
            </a:r>
            <a:r>
              <a:rPr lang="ru-RU" sz="1100" b="1" dirty="0" smtClean="0">
                <a:hlinkClick r:id="rId3"/>
              </a:rPr>
              <a:t>Н.Я. </a:t>
            </a:r>
            <a:r>
              <a:rPr lang="ru-RU" sz="1100" b="1" dirty="0" err="1" smtClean="0">
                <a:hlinkClick r:id="rId3"/>
              </a:rPr>
              <a:t>Виленкина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5988" y="633520"/>
            <a:ext cx="7953375" cy="344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646671"/>
              </p:ext>
            </p:extLst>
          </p:nvPr>
        </p:nvGraphicFramePr>
        <p:xfrm>
          <a:off x="288437" y="4193099"/>
          <a:ext cx="11796395" cy="1854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295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455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190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060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3961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Стоимость, р.</a:t>
                      </a:r>
                      <a:endParaRPr lang="ru-RU" b="1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 батона хлеба</a:t>
                      </a:r>
                      <a:endParaRPr lang="ru-RU" sz="1600" b="1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3 пакета молока</a:t>
                      </a:r>
                      <a:endParaRPr lang="ru-RU" sz="1600" b="1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1 упаковка сыра</a:t>
                      </a:r>
                      <a:endParaRPr lang="ru-RU" sz="1600" b="1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Вся покупка</a:t>
                      </a:r>
                      <a:endParaRPr lang="ru-RU" sz="1600" b="1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/>
                        <a:t>«По пути»</a:t>
                      </a:r>
                      <a:endParaRPr lang="ru-RU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/>
                        <a:t>«Рядом с домом»</a:t>
                      </a:r>
                      <a:endParaRPr lang="ru-RU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/>
                        <a:t>«По соседству»</a:t>
                      </a:r>
                      <a:endParaRPr lang="ru-RU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26" name="Прямая соединительная линия 25"/>
          <p:cNvCxnSpPr/>
          <p:nvPr/>
        </p:nvCxnSpPr>
        <p:spPr>
          <a:xfrm flipV="1">
            <a:off x="6087977" y="3188368"/>
            <a:ext cx="3838076" cy="1063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 flipV="1">
            <a:off x="2257924" y="3409514"/>
            <a:ext cx="2662992" cy="1704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4162425" y="3188368"/>
            <a:ext cx="962776" cy="95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5526512" y="3404302"/>
            <a:ext cx="1217222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9749596" y="3418035"/>
            <a:ext cx="296772" cy="8522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 flipV="1">
            <a:off x="2257924" y="3609598"/>
            <a:ext cx="5550571" cy="1064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2456444" y="3824582"/>
            <a:ext cx="2996635" cy="2497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6591273" y="3849553"/>
            <a:ext cx="333478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 flipV="1">
            <a:off x="2287371" y="4081570"/>
            <a:ext cx="2549324" cy="1039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8928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162425" y="6454770"/>
            <a:ext cx="2581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УМК по математике </a:t>
            </a:r>
            <a:r>
              <a:rPr lang="ru-RU" sz="1100" b="1" dirty="0" smtClean="0">
                <a:hlinkClick r:id="rId3"/>
              </a:rPr>
              <a:t>Н.Я. </a:t>
            </a:r>
            <a:r>
              <a:rPr lang="ru-RU" sz="1100" b="1" dirty="0" err="1" smtClean="0">
                <a:hlinkClick r:id="rId3"/>
              </a:rPr>
              <a:t>Виленкина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5988" y="633520"/>
            <a:ext cx="7953375" cy="344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" name="Таблица 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885432407"/>
                  </p:ext>
                </p:extLst>
              </p:nvPr>
            </p:nvGraphicFramePr>
            <p:xfrm>
              <a:off x="288437" y="4193099"/>
              <a:ext cx="11796395" cy="185420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129548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1745575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  <a:gridCol w="1719086">
                      <a:extLst>
                        <a:ext uri="{9D8B030D-6E8A-4147-A177-3AD203B41FA5}">
                          <a16:colId xmlns:a16="http://schemas.microsoft.com/office/drawing/2014/main" val="20002"/>
                        </a:ext>
                      </a:extLst>
                    </a:gridCol>
                    <a:gridCol w="1806010">
                      <a:extLst>
                        <a:ext uri="{9D8B030D-6E8A-4147-A177-3AD203B41FA5}">
                          <a16:colId xmlns:a16="http://schemas.microsoft.com/office/drawing/2014/main" val="20003"/>
                        </a:ext>
                      </a:extLst>
                    </a:gridCol>
                    <a:gridCol w="4396176">
                      <a:extLst>
                        <a:ext uri="{9D8B030D-6E8A-4147-A177-3AD203B41FA5}">
                          <a16:colId xmlns:a16="http://schemas.microsoft.com/office/drawing/2014/main" val="20004"/>
                        </a:ext>
                      </a:extLst>
                    </a:gridCol>
                  </a:tblGrid>
                  <a:tr h="370840">
                    <a:tc rowSpan="2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 gridSpan="4">
                      <a:txBody>
                        <a:bodyPr/>
                        <a:lstStyle/>
                        <a:p>
                          <a:pPr algn="ctr"/>
                          <a:r>
                            <a:rPr lang="ru-RU" b="1" dirty="0" smtClean="0"/>
                            <a:t>Стоимость, р.</a:t>
                          </a:r>
                          <a:endParaRPr lang="ru-RU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600" b="1" dirty="0" smtClean="0"/>
                            <a:t>2 батона хлеба</a:t>
                          </a:r>
                          <a:endParaRPr lang="ru-RU" sz="1600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600" b="1" dirty="0" smtClean="0"/>
                            <a:t>3 пакета молока</a:t>
                          </a:r>
                          <a:endParaRPr lang="ru-RU" sz="1600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600" b="1" dirty="0" smtClean="0"/>
                            <a:t>1 упаковка сыра</a:t>
                          </a:r>
                          <a:endParaRPr lang="ru-RU" sz="1600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600" b="1" dirty="0" smtClean="0"/>
                            <a:t>Вся покупка</a:t>
                          </a:r>
                          <a:endParaRPr lang="ru-RU" sz="1600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b="1" dirty="0" smtClean="0"/>
                            <a:t>«По пути»</a:t>
                          </a:r>
                          <a:endParaRPr lang="ru-RU" b="1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54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65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44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363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b="1" dirty="0" smtClean="0"/>
                            <a:t>«Рядом с домом»</a:t>
                          </a:r>
                          <a:endParaRPr lang="ru-RU" b="1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50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b="1" dirty="0" smtClean="0">
                              <a:solidFill>
                                <a:srgbClr val="C00000"/>
                              </a:solidFill>
                            </a:rPr>
                            <a:t>128</a:t>
                          </a:r>
                          <a:endParaRPr lang="ru-RU" b="1" dirty="0">
                            <a:solidFill>
                              <a:srgbClr val="C00000"/>
                            </a:solidFill>
                          </a:endParaRPr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50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328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b="1" dirty="0" smtClean="0"/>
                            <a:t>«По соседству»</a:t>
                          </a:r>
                          <a:endParaRPr lang="ru-RU" b="1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48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80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40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i="1" dirty="0" smtClean="0">
                                    <a:latin typeface="Cambria Math" panose="02040503050406030204" pitchFamily="18" charset="0"/>
                                  </a:rPr>
                                  <m:t>368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3" name="Таблица 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776497315"/>
                  </p:ext>
                </p:extLst>
              </p:nvPr>
            </p:nvGraphicFramePr>
            <p:xfrm>
              <a:off x="288437" y="4193099"/>
              <a:ext cx="11796395" cy="185420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129548"/>
                    <a:gridCol w="1745575"/>
                    <a:gridCol w="1719086"/>
                    <a:gridCol w="1806010"/>
                    <a:gridCol w="4396176"/>
                  </a:tblGrid>
                  <a:tr h="370840">
                    <a:tc rowSpan="2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 gridSpan="4">
                      <a:txBody>
                        <a:bodyPr/>
                        <a:lstStyle/>
                        <a:p>
                          <a:pPr algn="ctr"/>
                          <a:r>
                            <a:rPr lang="ru-RU" b="1" dirty="0" smtClean="0"/>
                            <a:t>Стоимость, р.</a:t>
                          </a:r>
                          <a:endParaRPr lang="ru-RU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600" b="1" dirty="0" smtClean="0"/>
                            <a:t>2 батона хлеба</a:t>
                          </a:r>
                          <a:endParaRPr lang="ru-RU" sz="1600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600" b="1" dirty="0" smtClean="0"/>
                            <a:t>3 пакета молока</a:t>
                          </a:r>
                          <a:endParaRPr lang="ru-RU" sz="1600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600" b="1" dirty="0" smtClean="0"/>
                            <a:t>1 упаковка сыра</a:t>
                          </a:r>
                          <a:endParaRPr lang="ru-RU" sz="1600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600" b="1" dirty="0" smtClean="0"/>
                            <a:t>Вся покупка</a:t>
                          </a:r>
                          <a:endParaRPr lang="ru-RU" sz="1600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b="1" dirty="0" smtClean="0"/>
                            <a:t>«По пути»</a:t>
                          </a:r>
                          <a:endParaRPr lang="ru-RU" b="1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54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65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44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363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b="1" dirty="0" smtClean="0"/>
                            <a:t>«Рядом с домом»</a:t>
                          </a:r>
                          <a:endParaRPr lang="ru-RU" b="1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50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b="1" dirty="0" smtClean="0">
                              <a:solidFill>
                                <a:srgbClr val="C00000"/>
                              </a:solidFill>
                            </a:rPr>
                            <a:t>128</a:t>
                          </a:r>
                          <a:endParaRPr lang="ru-RU" b="1" dirty="0">
                            <a:solidFill>
                              <a:srgbClr val="C00000"/>
                            </a:solidFill>
                          </a:endParaRPr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50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328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b="1" dirty="0" smtClean="0"/>
                            <a:t>«По соседству»</a:t>
                          </a:r>
                          <a:endParaRPr lang="ru-RU" b="1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48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80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40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0">
                          <a:blip r:embed="rId5"/>
                          <a:stretch>
                            <a:fillRect l="-168655" t="-409836" r="-277" b="-22951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cxnSp>
        <p:nvCxnSpPr>
          <p:cNvPr id="26" name="Прямая соединительная линия 25"/>
          <p:cNvCxnSpPr/>
          <p:nvPr/>
        </p:nvCxnSpPr>
        <p:spPr>
          <a:xfrm flipV="1">
            <a:off x="6087977" y="3188368"/>
            <a:ext cx="3838076" cy="1063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 flipV="1">
            <a:off x="2257924" y="3409514"/>
            <a:ext cx="2662992" cy="1704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4162425" y="3188368"/>
            <a:ext cx="962776" cy="95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5526512" y="3404302"/>
            <a:ext cx="1217222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9749596" y="3418035"/>
            <a:ext cx="296772" cy="8522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 flipV="1">
            <a:off x="2257924" y="3609598"/>
            <a:ext cx="5550571" cy="1064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2456444" y="3824582"/>
            <a:ext cx="2996635" cy="2497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6591273" y="3849553"/>
            <a:ext cx="333478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 flipV="1">
            <a:off x="2287371" y="4081570"/>
            <a:ext cx="2549324" cy="1039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895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3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08631"/>
            <a:ext cx="12192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73319" y="161602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имеры практико-ориентированных заданий в учебниках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162425" y="6454770"/>
            <a:ext cx="2581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hlinkClick r:id="rId3"/>
              </a:rPr>
              <a:t>УМК по математике </a:t>
            </a:r>
            <a:r>
              <a:rPr lang="ru-RU" sz="1100" b="1" dirty="0" smtClean="0">
                <a:hlinkClick r:id="rId3"/>
              </a:rPr>
              <a:t>Н.Я. </a:t>
            </a:r>
            <a:r>
              <a:rPr lang="ru-RU" sz="1100" b="1" dirty="0" err="1" smtClean="0">
                <a:hlinkClick r:id="rId3"/>
              </a:rPr>
              <a:t>Виленкина</a:t>
            </a:r>
            <a:r>
              <a:rPr lang="ru-RU" sz="1100" b="1" dirty="0" smtClean="0"/>
              <a:t>.</a:t>
            </a:r>
            <a:endParaRPr lang="ru-RU" sz="1100" b="1" dirty="0"/>
          </a:p>
        </p:txBody>
      </p:sp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5988" y="633520"/>
            <a:ext cx="7953375" cy="344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" name="Таблица 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515938118"/>
                  </p:ext>
                </p:extLst>
              </p:nvPr>
            </p:nvGraphicFramePr>
            <p:xfrm>
              <a:off x="288437" y="4193099"/>
              <a:ext cx="11796395" cy="185420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129548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1745575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  <a:gridCol w="1719086">
                      <a:extLst>
                        <a:ext uri="{9D8B030D-6E8A-4147-A177-3AD203B41FA5}">
                          <a16:colId xmlns:a16="http://schemas.microsoft.com/office/drawing/2014/main" val="20002"/>
                        </a:ext>
                      </a:extLst>
                    </a:gridCol>
                    <a:gridCol w="1806010">
                      <a:extLst>
                        <a:ext uri="{9D8B030D-6E8A-4147-A177-3AD203B41FA5}">
                          <a16:colId xmlns:a16="http://schemas.microsoft.com/office/drawing/2014/main" val="20003"/>
                        </a:ext>
                      </a:extLst>
                    </a:gridCol>
                    <a:gridCol w="4396176">
                      <a:extLst>
                        <a:ext uri="{9D8B030D-6E8A-4147-A177-3AD203B41FA5}">
                          <a16:colId xmlns:a16="http://schemas.microsoft.com/office/drawing/2014/main" val="20004"/>
                        </a:ext>
                      </a:extLst>
                    </a:gridCol>
                  </a:tblGrid>
                  <a:tr h="370840">
                    <a:tc rowSpan="2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 gridSpan="4">
                      <a:txBody>
                        <a:bodyPr/>
                        <a:lstStyle/>
                        <a:p>
                          <a:pPr algn="ctr"/>
                          <a:r>
                            <a:rPr lang="ru-RU" b="1" dirty="0" smtClean="0"/>
                            <a:t>Стоимость, р.</a:t>
                          </a:r>
                          <a:endParaRPr lang="ru-RU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600" b="1" dirty="0" smtClean="0"/>
                            <a:t>2 батона хлеба</a:t>
                          </a:r>
                          <a:endParaRPr lang="ru-RU" sz="1600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600" b="1" dirty="0" smtClean="0"/>
                            <a:t>3 пакета молока</a:t>
                          </a:r>
                          <a:endParaRPr lang="ru-RU" sz="1600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600" b="1" dirty="0" smtClean="0"/>
                            <a:t>1 упаковка сыра</a:t>
                          </a:r>
                          <a:endParaRPr lang="ru-RU" sz="1600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600" b="1" dirty="0" smtClean="0"/>
                            <a:t>Вся покупка</a:t>
                          </a:r>
                          <a:endParaRPr lang="ru-RU" sz="1600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b="1" dirty="0" smtClean="0"/>
                            <a:t>«По пути»</a:t>
                          </a:r>
                          <a:endParaRPr lang="ru-RU" b="1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54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65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44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363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b="1" dirty="0" smtClean="0"/>
                            <a:t>«Рядом с домом»</a:t>
                          </a:r>
                          <a:endParaRPr lang="ru-RU" b="1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50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b="1" dirty="0" smtClean="0">
                              <a:solidFill>
                                <a:srgbClr val="C00000"/>
                              </a:solidFill>
                            </a:rPr>
                            <a:t>128</a:t>
                          </a:r>
                          <a:endParaRPr lang="ru-RU" b="1" dirty="0">
                            <a:solidFill>
                              <a:srgbClr val="C00000"/>
                            </a:solidFill>
                          </a:endParaRPr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50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328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b="1" dirty="0" smtClean="0"/>
                            <a:t>«По соседству»</a:t>
                          </a:r>
                          <a:endParaRPr lang="ru-RU" b="1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48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80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40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i="1" dirty="0" smtClean="0">
                                    <a:latin typeface="Cambria Math" panose="02040503050406030204" pitchFamily="18" charset="0"/>
                                  </a:rPr>
                                  <m:t>368</m:t>
                                </m:r>
                                <m:r>
                                  <a:rPr lang="ru-RU" b="0" i="1" dirty="0" smtClean="0">
                                    <a:latin typeface="Cambria Math" panose="02040503050406030204" pitchFamily="18" charset="0"/>
                                  </a:rPr>
                                  <m:t>−368</m:t>
                                </m:r>
                                <m:r>
                                  <a:rPr lang="ru-RU" b="0" i="1" dirty="0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∙0,05=368−18,4=349,6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3" name="Таблица 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509894815"/>
                  </p:ext>
                </p:extLst>
              </p:nvPr>
            </p:nvGraphicFramePr>
            <p:xfrm>
              <a:off x="288437" y="4193099"/>
              <a:ext cx="11796395" cy="185420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2129548"/>
                    <a:gridCol w="1745575"/>
                    <a:gridCol w="1719086"/>
                    <a:gridCol w="1806010"/>
                    <a:gridCol w="4396176"/>
                  </a:tblGrid>
                  <a:tr h="370840">
                    <a:tc rowSpan="2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 gridSpan="4">
                      <a:txBody>
                        <a:bodyPr/>
                        <a:lstStyle/>
                        <a:p>
                          <a:pPr algn="ctr"/>
                          <a:r>
                            <a:rPr lang="ru-RU" b="1" dirty="0" smtClean="0"/>
                            <a:t>Стоимость, р.</a:t>
                          </a:r>
                          <a:endParaRPr lang="ru-RU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</a:tr>
                  <a:tr h="370840">
                    <a:tc v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600" b="1" dirty="0" smtClean="0"/>
                            <a:t>2 батона хлеба</a:t>
                          </a:r>
                          <a:endParaRPr lang="ru-RU" sz="1600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600" b="1" dirty="0" smtClean="0"/>
                            <a:t>3 пакета молока</a:t>
                          </a:r>
                          <a:endParaRPr lang="ru-RU" sz="1600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600" b="1" dirty="0" smtClean="0"/>
                            <a:t>1 упаковка сыра</a:t>
                          </a:r>
                          <a:endParaRPr lang="ru-RU" sz="1600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600" b="1" dirty="0" smtClean="0"/>
                            <a:t>Вся покупка</a:t>
                          </a:r>
                          <a:endParaRPr lang="ru-RU" sz="1600" b="1" dirty="0"/>
                        </a:p>
                      </a:txBody>
                      <a:tcPr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b="1" dirty="0" smtClean="0"/>
                            <a:t>«По пути»</a:t>
                          </a:r>
                          <a:endParaRPr lang="ru-RU" b="1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54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65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44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363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b="1" dirty="0" smtClean="0"/>
                            <a:t>«Рядом с домом»</a:t>
                          </a:r>
                          <a:endParaRPr lang="ru-RU" b="1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50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b="1" dirty="0" smtClean="0">
                              <a:solidFill>
                                <a:srgbClr val="C00000"/>
                              </a:solidFill>
                            </a:rPr>
                            <a:t>128</a:t>
                          </a:r>
                          <a:endParaRPr lang="ru-RU" b="1" dirty="0">
                            <a:solidFill>
                              <a:srgbClr val="C00000"/>
                            </a:solidFill>
                          </a:endParaRPr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50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328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b="1" dirty="0" smtClean="0"/>
                            <a:t>«По соседству»</a:t>
                          </a:r>
                          <a:endParaRPr lang="ru-RU" b="1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48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80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dirty="0" smtClean="0"/>
                            <a:t>140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0">
                          <a:blip r:embed="rId5"/>
                          <a:stretch>
                            <a:fillRect l="-168655" t="-409836" r="-277" b="-22951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cxnSp>
        <p:nvCxnSpPr>
          <p:cNvPr id="26" name="Прямая соединительная линия 25"/>
          <p:cNvCxnSpPr/>
          <p:nvPr/>
        </p:nvCxnSpPr>
        <p:spPr>
          <a:xfrm flipV="1">
            <a:off x="6087977" y="3188368"/>
            <a:ext cx="3838076" cy="1063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 flipV="1">
            <a:off x="2257924" y="3409514"/>
            <a:ext cx="2662992" cy="1704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4162425" y="3188368"/>
            <a:ext cx="962776" cy="95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5526512" y="3404302"/>
            <a:ext cx="1217222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9749596" y="3418035"/>
            <a:ext cx="296772" cy="8522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 flipV="1">
            <a:off x="2257924" y="3609598"/>
            <a:ext cx="5550571" cy="1064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2456444" y="3824582"/>
            <a:ext cx="2996635" cy="2497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6591273" y="3849553"/>
            <a:ext cx="333478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 flipV="1">
            <a:off x="2287371" y="4081570"/>
            <a:ext cx="2549324" cy="1039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7507705" y="6195563"/>
            <a:ext cx="42122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/>
              <a:t>Ответ. </a:t>
            </a:r>
            <a:r>
              <a:rPr lang="ru-RU" sz="2000" dirty="0" smtClean="0"/>
              <a:t>В магазине «Рядом с домом»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039436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779828" y="216591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Математическая грамотность. Полезные материалы</a:t>
            </a: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594" y="828733"/>
            <a:ext cx="2045253" cy="27178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1682" name="Picture 2" descr="http://qrcoder.ru/code/?https%3A%2F%2Fshop.prosv.ru%2Fsearch%3Fq%3D%25D0%259C%25D0%25B0%25D1%2582%25D0%25B5%25D0%25BC%25D0%25B0%25D1%2582%25D0%25B8%25D1%2587%25D0%25B5%25D1%2581%25D0%25BA%25D0%25B0%25D1%258F%2B%25D0%25B3%25D1%2580%25D0%25B0%25D0%25BC%25D0%25BE%25D1%2582%25D0%25BD%25D0%25BE%25D1%2581%25D1%2582%25D1%258C&amp;4&amp;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5769" y="4101563"/>
            <a:ext cx="1893078" cy="1893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4" name="Picture 4" descr="Изображение Математическая грамотность. Сборник эталонных заданий. Выпуск 1. Часть 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7278" y="848593"/>
            <a:ext cx="2025619" cy="26781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6" name="Picture 6" descr="Изображение Математическая грамотность. Сборник эталонных заданий. Выпуск 1. Часть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6860" y="848592"/>
            <a:ext cx="2025620" cy="26781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8" name="Picture 8" descr="Изображение Математическая грамотность. Сборник эталонных заданий. Выпуск 2. Часть 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2954" y="3699688"/>
            <a:ext cx="2079245" cy="27424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90" name="Picture 10" descr="Изображение Математическая грамотность. Сборник эталонных заданий. Выпуск 2. Часть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639" y="3699687"/>
            <a:ext cx="2079245" cy="27424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8639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2899" y="5787237"/>
            <a:ext cx="611698" cy="682439"/>
          </a:xfrm>
          <a:prstGeom prst="rect">
            <a:avLst/>
          </a:prstGeom>
        </p:spPr>
      </p:pic>
      <p:sp>
        <p:nvSpPr>
          <p:cNvPr id="6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53355" y="305738"/>
            <a:ext cx="10029387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Электронный банк заданий. Удобно, доступно, эффективно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68319" y="1619163"/>
            <a:ext cx="5200334" cy="4358116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Интерактивные задания по всем видам функциональной грамотности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Возможна 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ортировка заданий по виду грамотности, предмету и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классу, распечатки 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итуации и заданий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Доступна 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электронная версия печатного пособия с возможностью выбора тем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Дидактическая 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карточка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даёт рекомендации 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о включению заданий и ситуаций в образовательный процесс. Позволит использовать ключи для оценки выполненных учащимися работ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Доступны различные способы получения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доступа.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Возможность конструировать банк заданий под актуальные потребности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региона</a:t>
            </a:r>
          </a:p>
          <a:p>
            <a:pPr algn="ctr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r>
              <a:rPr lang="ru-RU" sz="2000" b="1" dirty="0" smtClean="0">
                <a:hlinkClick r:id="rId4"/>
              </a:rPr>
              <a:t>Ссылка на электронный банк заданий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4597" y="1704328"/>
            <a:ext cx="6855206" cy="3662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4426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699" y="6422159"/>
            <a:ext cx="417983" cy="466321"/>
          </a:xfrm>
          <a:prstGeom prst="rect">
            <a:avLst/>
          </a:prstGeom>
        </p:spPr>
      </p:pic>
      <p:sp>
        <p:nvSpPr>
          <p:cNvPr id="6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53355" y="305738"/>
            <a:ext cx="10029387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Электронный банк заданий. Удобно, доступно, эффективно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245253" y="6145788"/>
            <a:ext cx="5200334" cy="41197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algn="ctr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r>
              <a:rPr lang="ru-RU" sz="2000" b="1" dirty="0" smtClean="0">
                <a:hlinkClick r:id="rId4"/>
              </a:rPr>
              <a:t>Ссылка на электронный банк заданий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48" y="1150470"/>
            <a:ext cx="11510394" cy="465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274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699" y="6422159"/>
            <a:ext cx="417983" cy="466321"/>
          </a:xfrm>
          <a:prstGeom prst="rect">
            <a:avLst/>
          </a:prstGeom>
        </p:spPr>
      </p:pic>
      <p:sp>
        <p:nvSpPr>
          <p:cNvPr id="6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53355" y="305738"/>
            <a:ext cx="10029387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Электронный банк заданий. Удобно, доступно, эффективно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245253" y="6145788"/>
            <a:ext cx="5200334" cy="41197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algn="ctr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r>
              <a:rPr lang="ru-RU" sz="2000" b="1" dirty="0" smtClean="0">
                <a:hlinkClick r:id="rId4"/>
              </a:rPr>
              <a:t>Ссылка на электронный банк заданий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177" y="1041103"/>
            <a:ext cx="10570920" cy="494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909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699" y="6422159"/>
            <a:ext cx="417983" cy="466321"/>
          </a:xfrm>
          <a:prstGeom prst="rect">
            <a:avLst/>
          </a:prstGeom>
        </p:spPr>
      </p:pic>
      <p:sp>
        <p:nvSpPr>
          <p:cNvPr id="6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53355" y="305738"/>
            <a:ext cx="10029387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Электронный банк заданий. Удобно, доступно, эффективно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245253" y="6145788"/>
            <a:ext cx="5200334" cy="41197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algn="ctr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r>
              <a:rPr lang="ru-RU" sz="2000" b="1" dirty="0" smtClean="0">
                <a:hlinkClick r:id="rId4"/>
              </a:rPr>
              <a:t>Ссылка на электронный банк заданий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1155" y="791156"/>
            <a:ext cx="8017650" cy="5276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37101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699" y="6422159"/>
            <a:ext cx="417983" cy="466321"/>
          </a:xfrm>
          <a:prstGeom prst="rect">
            <a:avLst/>
          </a:prstGeom>
        </p:spPr>
      </p:pic>
      <p:sp>
        <p:nvSpPr>
          <p:cNvPr id="6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53355" y="305738"/>
            <a:ext cx="10029387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Электронный банк заданий. Удобно, доступно, эффективно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245253" y="6145788"/>
            <a:ext cx="5200334" cy="41197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algn="ctr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r>
              <a:rPr lang="ru-RU" sz="2000" b="1" dirty="0" smtClean="0">
                <a:hlinkClick r:id="rId4"/>
              </a:rPr>
              <a:t>Ссылка на электронный банк заданий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634" y="796972"/>
            <a:ext cx="4457347" cy="5348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571"/>
          <a:stretch/>
        </p:blipFill>
        <p:spPr bwMode="auto">
          <a:xfrm>
            <a:off x="137987" y="1658470"/>
            <a:ext cx="6500112" cy="3311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7364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003053" y="137532"/>
            <a:ext cx="372236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PISA – не PISA – почти PISA</a:t>
            </a:r>
            <a:endParaRPr lang="ru-RU" sz="2400" dirty="0"/>
          </a:p>
        </p:txBody>
      </p:sp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4450" y="976645"/>
            <a:ext cx="3000248" cy="2750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Прямоугольник 25"/>
          <p:cNvSpPr/>
          <p:nvPr/>
        </p:nvSpPr>
        <p:spPr>
          <a:xfrm>
            <a:off x="211427" y="977836"/>
            <a:ext cx="827534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 рисунке изображён план однокомнатной квартиры в 12-этажном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жилом дом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(сторона каждой клетки на плане равна 0,4 м). Окна квартиры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ыходят н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евер. При входе в квартиру располагается прихожая. Справа о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ихоже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ходится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анузел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а слева — вход в комнату. Санузел имеет общую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тену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 кухней, отмеченной на плане цифрой 2. Комната имее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ибольшую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лощадь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 всех помещений. Из кухни есть выход на балкон. Пол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анузла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ыложен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литкой размером 20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20 см.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72831" y="2960323"/>
            <a:ext cx="835253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1. Для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бъектов, указанных в таблице, определите, какими цифрами он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бозначены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 плане. Заполните таблицу, в бланк перенесит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довательность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четырёх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цифр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211426" y="3883653"/>
            <a:ext cx="1182817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Решение.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скольку прихожая находится при входе в квартиру, на план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на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бозначен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цифрой 4. Поскольку санузел находится справа от прихожей, 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омнат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— слева, то на плане они обозначены цифрами 5 и 1 соответственно.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Ясно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что балкон обозначен на плане цифрой 3. 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Таблиц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имет следующий вид:</a:t>
            </a: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7363" y="5083982"/>
            <a:ext cx="9051575" cy="94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3796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Прямоугольник 48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0" name="TextBox 49"/>
          <p:cNvSpPr txBox="1"/>
          <p:nvPr/>
        </p:nvSpPr>
        <p:spPr>
          <a:xfrm>
            <a:off x="1895322" y="1085439"/>
            <a:ext cx="9761219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МНОГОФУНКЦИОНАЛЬНЫЕ ПОСОБИЯ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для 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эффективной подготовки к олимпиадам, ОГЭ, </a:t>
            </a: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ЕГЭ, ВПР, международным исследованиям</a:t>
            </a:r>
            <a:endParaRPr lang="ru-RU" sz="16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9" name="TextBox 58"/>
          <p:cNvSpPr txBox="1"/>
          <p:nvPr/>
        </p:nvSpPr>
        <p:spPr>
          <a:xfrm>
            <a:off x="1779828" y="218874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«ЗАДАЧНИКИ»</a:t>
            </a:r>
          </a:p>
        </p:txBody>
      </p:sp>
      <p:sp>
        <p:nvSpPr>
          <p:cNvPr id="60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Группа 61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7" name="Прямая соединительная линия 76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240697" y="2057845"/>
            <a:ext cx="5200334" cy="2796856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600" dirty="0" smtClean="0">
                <a:ea typeface="Open Sans" pitchFamily="34" charset="0"/>
                <a:cs typeface="Open Sans" pitchFamily="34" charset="0"/>
              </a:rPr>
              <a:t>Позволят </a:t>
            </a:r>
            <a:r>
              <a:rPr lang="ru-RU" sz="1600" dirty="0">
                <a:ea typeface="Open Sans" pitchFamily="34" charset="0"/>
                <a:cs typeface="Open Sans" pitchFamily="34" charset="0"/>
              </a:rPr>
              <a:t>учащимся существенно повысить уровень своей функциональной </a:t>
            </a:r>
            <a:r>
              <a:rPr lang="ru-RU" sz="1600" dirty="0" smtClean="0">
                <a:ea typeface="Open Sans" pitchFamily="34" charset="0"/>
                <a:cs typeface="Open Sans" pitchFamily="34" charset="0"/>
              </a:rPr>
              <a:t>грамотности </a:t>
            </a:r>
            <a:endParaRPr lang="ru-RU" sz="1600" dirty="0"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600" dirty="0" smtClean="0">
                <a:ea typeface="Open Sans" pitchFamily="34" charset="0"/>
                <a:cs typeface="Open Sans" pitchFamily="34" charset="0"/>
              </a:rPr>
              <a:t>Содержат </a:t>
            </a:r>
            <a:r>
              <a:rPr lang="ru-RU" sz="1600" dirty="0">
                <a:ea typeface="Open Sans" pitchFamily="34" charset="0"/>
                <a:cs typeface="Open Sans" pitchFamily="34" charset="0"/>
              </a:rPr>
              <a:t>разнообразные тренировочные и проверочные задания и упражнения для текущего и итогового контроля знаний, а также творческие задания, позволяющие углубить знания по различным предметным </a:t>
            </a:r>
            <a:r>
              <a:rPr lang="ru-RU" sz="1600" dirty="0" smtClean="0">
                <a:ea typeface="Open Sans" pitchFamily="34" charset="0"/>
                <a:cs typeface="Open Sans" pitchFamily="34" charset="0"/>
              </a:rPr>
              <a:t>областям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600" dirty="0" smtClean="0">
                <a:ea typeface="Open Sans" pitchFamily="34" charset="0"/>
                <a:cs typeface="Open Sans" pitchFamily="34" charset="0"/>
              </a:rPr>
              <a:t>Универсальные</a:t>
            </a:r>
            <a:r>
              <a:rPr lang="ru-RU" sz="1600" dirty="0">
                <a:ea typeface="Open Sans" pitchFamily="34" charset="0"/>
                <a:cs typeface="Open Sans" pitchFamily="34" charset="0"/>
              </a:rPr>
              <a:t>, могут быть </a:t>
            </a:r>
            <a:r>
              <a:rPr lang="ru-RU" sz="1600" dirty="0" smtClean="0">
                <a:ea typeface="Open Sans" pitchFamily="34" charset="0"/>
                <a:cs typeface="Open Sans" pitchFamily="34" charset="0"/>
              </a:rPr>
              <a:t>использованы с </a:t>
            </a:r>
            <a:r>
              <a:rPr lang="ru-RU" sz="1600" dirty="0">
                <a:ea typeface="Open Sans" pitchFamily="34" charset="0"/>
                <a:cs typeface="Open Sans" pitchFamily="34" charset="0"/>
              </a:rPr>
              <a:t>любым учебно-методическим </a:t>
            </a:r>
            <a:r>
              <a:rPr lang="ru-RU" sz="1600" dirty="0" smtClean="0">
                <a:ea typeface="Open Sans" pitchFamily="34" charset="0"/>
                <a:cs typeface="Open Sans" pitchFamily="34" charset="0"/>
              </a:rPr>
              <a:t>комплектом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71352" y="1508787"/>
            <a:ext cx="9475996" cy="3835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8000" rIns="108000" bIns="108000" rtlCol="0" anchor="ctr">
            <a:noAutofit/>
          </a:bodyPr>
          <a:lstStyle/>
          <a:p>
            <a:pPr defTabSz="914377">
              <a:buClr>
                <a:srgbClr val="0070C0"/>
              </a:buClr>
              <a:defRPr/>
            </a:pPr>
            <a:endParaRPr lang="ru-RU" sz="1733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6477" y="2080786"/>
            <a:ext cx="1468982" cy="1981710"/>
          </a:xfrm>
          <a:prstGeom prst="rect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1444" name="Picture 4" descr="https://catalog.prosv.ru/images/big/5d910e56-b724-11e8-b40a-0050569c7d1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115" y="2078965"/>
            <a:ext cx="1483650" cy="2024746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970" name="Picture 2" descr="Изображение Геометрия. Универсальный многоуровневый сборник задач 10-11 классы.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6126" y="2078061"/>
            <a:ext cx="1539841" cy="201645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972" name="Picture 4" descr="Изображение Задачи по геометрии. 7–11 классы.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6477" y="4272601"/>
            <a:ext cx="1468982" cy="226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974" name="Picture 6" descr="Изображение Сборник задач по алгебре. 8–9 классы.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115" y="4266809"/>
            <a:ext cx="1483650" cy="2279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976" name="Picture 8" descr="Изображение Тысяча и одна задача по математике. 5 — 7 классы.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6126" y="4274477"/>
            <a:ext cx="1599421" cy="222704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978" name="Picture 10" descr="http://qrcoder.ru/code/?https%3A%2F%2Fshop.prosv.ru%2Fsearch%3Fq%3D%25D0%25B7%25D0%25B0%25D0%25B4%25D0%25B0%25D1%2587%25D0%25BD%25D0%25B8%25D0%25BA%23%2Forderby%3D5%26q%3D%25D0%25B7%25D0%25B0%25D0%25B4%25D0%25B0%25D1%2587%25D0%25BD%25D0%25B8%25D0%25BA%26sFilters%3D2%211716%2C1721%2C1732%3B13%212969%3B&amp;4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1138" y="4854701"/>
            <a:ext cx="1748758" cy="1748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5822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54" name="Группа 5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286853" y="485751"/>
            <a:ext cx="11478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9493058" y="1677982"/>
            <a:ext cx="3380482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  <a:hlinkClick r:id="rId3"/>
              </a:rPr>
              <a:t>https://uchitel.club/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/>
          <a:srcRect t="4558"/>
          <a:stretch/>
        </p:blipFill>
        <p:spPr>
          <a:xfrm>
            <a:off x="295718" y="1011115"/>
            <a:ext cx="8637878" cy="495690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796537" y="183750"/>
            <a:ext cx="969707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</a:rPr>
              <a:t>Просвещение. Поддержка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098889" y="3650701"/>
            <a:ext cx="3854139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lvl="0" indent="-285750">
              <a:spcBef>
                <a:spcPts val="1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Портал, н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котором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собраны материалы в  помощь учителям и родителям для организ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учения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Консульт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при выполнении домашних заданий в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видеоформат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 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мен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лучшими практиками, их апробация и распространение в сотрудничестве с органами управления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разованием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/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</a:b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9" y="6539934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8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29038" y="1771118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4024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54" name="Группа 5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286853" y="485751"/>
            <a:ext cx="11478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796537" y="183750"/>
            <a:ext cx="969707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</a:rPr>
              <a:t>Конкурс-</a:t>
            </a:r>
            <a:r>
              <a:rPr kumimoji="0" lang="ru-RU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</a:rPr>
              <a:t>квиз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</a:rPr>
              <a:t> по математике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9" y="6539934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86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157288"/>
            <a:ext cx="12188949" cy="4397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611" name="Picture 3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599" y="4993292"/>
            <a:ext cx="241935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6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90319" y="5333229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4463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54" name="Группа 5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286853" y="485751"/>
            <a:ext cx="11478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796537" y="183750"/>
            <a:ext cx="969707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</a:rPr>
              <a:t>Химический диктант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9" y="6539934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90319" y="5333229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319" y="762000"/>
            <a:ext cx="11630025" cy="56007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803" name="Picture 3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378" y="5264754"/>
            <a:ext cx="1828800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42719" y="5623741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6692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095327"/>
            <a:ext cx="12179770" cy="4762673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1948970" y="108504"/>
            <a:ext cx="681770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Внимание, конкурс!</a:t>
            </a:r>
          </a:p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Естественно-научная грамотность в курсе физики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-3051" y="1029097"/>
            <a:ext cx="12195051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66255" y="1183883"/>
            <a:ext cx="1167938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Призы – подписка на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  <a:hlinkClick r:id="rId4"/>
              </a:rPr>
              <a:t>электронный банк заданий по формированию функциональной грамотности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964332" y="1872731"/>
            <a:ext cx="65214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Конкурс «Авторская задача»: </a:t>
            </a:r>
            <a:r>
              <a:rPr lang="ru-RU" dirty="0" smtClean="0">
                <a:hlinkClick r:id="rId6"/>
              </a:rPr>
              <a:t>https</a:t>
            </a:r>
            <a:r>
              <a:rPr lang="ru-RU" dirty="0">
                <a:hlinkClick r:id="rId6"/>
              </a:rPr>
              <a:t>://</a:t>
            </a:r>
            <a:r>
              <a:rPr lang="ru-RU" dirty="0" smtClean="0">
                <a:hlinkClick r:id="rId6"/>
              </a:rPr>
              <a:t>uchitel.club/physics-award/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903467" y="5506088"/>
            <a:ext cx="18117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hlinkClick r:id="rId6"/>
              </a:rPr>
              <a:t>Принять участие</a:t>
            </a:r>
            <a:endParaRPr lang="ru-RU" dirty="0"/>
          </a:p>
        </p:txBody>
      </p:sp>
      <p:pic>
        <p:nvPicPr>
          <p:cNvPr id="19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7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40734" y="5715046"/>
            <a:ext cx="383958" cy="3946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6199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3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4713372" y="3828975"/>
            <a:ext cx="6194758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, бизнес-центр «Новослободский»</a:t>
            </a:r>
          </a:p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ru-RU" sz="1200" b="0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kumimoji="0" lang="ru-RU" sz="1200" b="0" i="0" u="none" strike="noStrike" kern="1200" cap="none" spc="-4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2192" name="Picture 32" descr="http://qrcoder.ru/code/?https%3A%2F%2Fshop.prosv.ru%2F&amp;8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1950" y="3842483"/>
            <a:ext cx="1105175" cy="1105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Заголовок 1"/>
          <p:cNvSpPr txBox="1">
            <a:spLocks/>
          </p:cNvSpPr>
          <p:nvPr/>
        </p:nvSpPr>
        <p:spPr>
          <a:xfrm>
            <a:off x="42862" y="1254662"/>
            <a:ext cx="121920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spc="-40" dirty="0" smtClean="0">
                <a:solidFill>
                  <a:srgbClr val="2A3393"/>
                </a:solidFill>
                <a:latin typeface="+mn-lt"/>
                <a:ea typeface="Cambria Math" panose="02040503050406030204" pitchFamily="18" charset="0"/>
                <a:cs typeface="Open Sans" panose="020B0606030504020204" pitchFamily="34" charset="0"/>
              </a:rPr>
              <a:t>ЖЕЛАЮ ТВОРЧЕСКИХ УСПЕХОВ!</a:t>
            </a:r>
            <a:br>
              <a:rPr lang="ru-RU" sz="3200" b="1" spc="-40" dirty="0" smtClean="0">
                <a:solidFill>
                  <a:srgbClr val="2A3393"/>
                </a:solidFill>
                <a:latin typeface="+mn-lt"/>
                <a:ea typeface="Cambria Math" panose="02040503050406030204" pitchFamily="18" charset="0"/>
                <a:cs typeface="Open Sans" panose="020B0606030504020204" pitchFamily="34" charset="0"/>
              </a:rPr>
            </a:br>
            <a:endParaRPr lang="ru-RU" sz="3200" b="1" spc="-40" dirty="0">
              <a:solidFill>
                <a:srgbClr val="2A3393"/>
              </a:solidFill>
              <a:latin typeface="+mn-lt"/>
              <a:ea typeface="Cambria Math" panose="02040503050406030204" pitchFamily="18" charset="0"/>
              <a:cs typeface="Open Sans" panose="020B0606030504020204" pitchFamily="34" charset="0"/>
            </a:endParaRPr>
          </a:p>
        </p:txBody>
      </p:sp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" y="0"/>
            <a:ext cx="12106275" cy="139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422854" y="2292618"/>
            <a:ext cx="5601160" cy="129881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Отдел методической поддержки педагогов и ОО</a:t>
            </a:r>
          </a:p>
          <a:p>
            <a:r>
              <a:rPr lang="ru-RU" sz="1400" dirty="0" smtClean="0"/>
              <a:t>Ведущий методист по математике </a:t>
            </a:r>
            <a:r>
              <a:rPr lang="ru-RU" sz="1400" b="1" dirty="0" smtClean="0"/>
              <a:t>Зубкова Екатерина Дмитриевна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4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б. телефон </a:t>
            </a:r>
            <a:r>
              <a:rPr lang="ru-RU" sz="14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 (</a:t>
            </a:r>
            <a:r>
              <a:rPr lang="ru-RU" sz="14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19) 839-05-78</a:t>
            </a:r>
          </a:p>
          <a:p>
            <a:pPr defTabSz="914377">
              <a:lnSpc>
                <a:spcPct val="120000"/>
              </a:lnSpc>
              <a:defRPr/>
            </a:pPr>
            <a:r>
              <a:rPr lang="en-US" sz="14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-mail:</a:t>
            </a:r>
            <a:r>
              <a:rPr lang="ru-RU" sz="14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4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12"/>
              </a:rPr>
              <a:t>EZubkova@prosv.ru</a:t>
            </a:r>
            <a:endParaRPr lang="ru-RU" sz="1400" spc="-40" dirty="0" smtClean="0">
              <a:solidFill>
                <a:schemeClr val="tx1">
                  <a:lumMod val="95000"/>
                  <a:lumOff val="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914377">
              <a:lnSpc>
                <a:spcPct val="120000"/>
              </a:lnSpc>
              <a:defRPr/>
            </a:pPr>
            <a:r>
              <a:rPr lang="ru-RU" sz="14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           @</a:t>
            </a:r>
            <a:r>
              <a:rPr lang="en-US" sz="1400" spc="-4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fe_and_math</a:t>
            </a:r>
            <a:endParaRPr lang="ru-RU" sz="1400" spc="-40" dirty="0" smtClean="0">
              <a:solidFill>
                <a:schemeClr val="tx1">
                  <a:lumMod val="95000"/>
                  <a:lumOff val="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3" name="Picture 5" descr="Картинки по запросу значок инстаграм 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8923" y="3276680"/>
            <a:ext cx="215511" cy="215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2809470" y="5072598"/>
            <a:ext cx="719666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Уважаемые коллеги!</a:t>
            </a:r>
          </a:p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Заинтересовавшие вас </a:t>
            </a:r>
            <a:r>
              <a:rPr lang="ru-RU" sz="2000" b="1" dirty="0">
                <a:solidFill>
                  <a:srgbClr val="002060"/>
                </a:solidFill>
              </a:rPr>
              <a:t>п</a:t>
            </a:r>
            <a:r>
              <a:rPr lang="ru-RU" sz="2000" b="1" dirty="0" smtClean="0">
                <a:solidFill>
                  <a:srgbClr val="002060"/>
                </a:solidFill>
              </a:rPr>
              <a:t>особия вы можете приобрести </a:t>
            </a:r>
          </a:p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в нашем интернет-магазине</a:t>
            </a:r>
            <a:r>
              <a:rPr lang="en-US" sz="2000" b="1" dirty="0">
                <a:solidFill>
                  <a:srgbClr val="002060"/>
                </a:solidFill>
              </a:rPr>
              <a:t> </a:t>
            </a:r>
            <a:r>
              <a:rPr lang="en-US" sz="2000" b="1" dirty="0" smtClean="0">
                <a:solidFill>
                  <a:srgbClr val="002060"/>
                </a:solidFill>
                <a:hlinkClick r:id="rId14"/>
              </a:rPr>
              <a:t>shop.prosv.ru</a:t>
            </a:r>
            <a:endParaRPr lang="en-US" sz="20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со скидкой 10% по </a:t>
            </a:r>
            <a:r>
              <a:rPr lang="ru-RU" sz="2000" b="1" dirty="0" err="1" smtClean="0">
                <a:solidFill>
                  <a:srgbClr val="002060"/>
                </a:solidFill>
              </a:rPr>
              <a:t>промокоду</a:t>
            </a:r>
            <a:endParaRPr lang="ru-RU" sz="2000" b="1" dirty="0" smtClean="0">
              <a:solidFill>
                <a:srgbClr val="002060"/>
              </a:solidFill>
            </a:endParaRPr>
          </a:p>
          <a:p>
            <a:pPr algn="ctr"/>
            <a:r>
              <a:rPr lang="en-US" sz="2800" b="1" dirty="0" smtClean="0">
                <a:solidFill>
                  <a:srgbClr val="002060"/>
                </a:solidFill>
              </a:rPr>
              <a:t>WEBPROSV</a:t>
            </a:r>
            <a:endParaRPr lang="ru-RU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499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003053" y="137532"/>
            <a:ext cx="372236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PISA – не PISA – почти PISA</a:t>
            </a:r>
            <a:endParaRPr lang="ru-RU" sz="24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4086225" y="972445"/>
            <a:ext cx="7945960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я и Денис ехали в метро и увидели в вагоне рекламу двух банков, которые предлагают сделать вклад.</a:t>
            </a:r>
          </a:p>
          <a:p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Как кстати, — сказала Аня. — Мы с сестрой работали всё </a:t>
            </a:r>
            <a:r>
              <a:rPr lang="ru-RU" sz="1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о и </a:t>
            </a:r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ели собрать определённую сумму денег. </a:t>
            </a:r>
            <a:endParaRPr lang="ru-RU" sz="19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 вижу, что хранить эти деньги выгодно в банке. </a:t>
            </a:r>
            <a:endParaRPr lang="ru-RU" sz="19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</a:t>
            </a:r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чёт процентов можно увеличить вложенную сумму.</a:t>
            </a: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00"/>
          <a:stretch/>
        </p:blipFill>
        <p:spPr bwMode="auto">
          <a:xfrm>
            <a:off x="137987" y="914812"/>
            <a:ext cx="3948238" cy="1834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6618740"/>
              </p:ext>
            </p:extLst>
          </p:nvPr>
        </p:nvGraphicFramePr>
        <p:xfrm>
          <a:off x="244875" y="3047712"/>
          <a:ext cx="7119495" cy="267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903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859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431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овия</a:t>
                      </a:r>
                      <a:endParaRPr lang="ru-RU" b="1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нк</a:t>
                      </a:r>
                      <a:endParaRPr lang="ru-RU" b="1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Пегас»</a:t>
                      </a:r>
                      <a:endParaRPr lang="ru-RU" b="1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Цезарь»</a:t>
                      </a:r>
                      <a:endParaRPr lang="ru-RU" b="1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kern="1200" baseline="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инимальный вклад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000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000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kern="1200" baseline="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нтная ставка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baseline="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 годовых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baseline="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% годовых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kern="1200" baseline="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 вклада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kern="120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1 года</a:t>
                      </a:r>
                      <a:endParaRPr lang="ru-RU" sz="1800" kern="12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1 месяца</a:t>
                      </a:r>
                    </a:p>
                    <a:p>
                      <a:pPr algn="ctr"/>
                      <a:r>
                        <a:rPr lang="ru-RU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с возможностью</a:t>
                      </a:r>
                    </a:p>
                    <a:p>
                      <a:pPr algn="ctr"/>
                      <a:r>
                        <a:rPr lang="ru-RU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астичного снятия</a:t>
                      </a:r>
                    </a:p>
                    <a:p>
                      <a:pPr algn="ctr"/>
                      <a:r>
                        <a:rPr lang="ru-RU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нег)</a:t>
                      </a:r>
                      <a:endParaRPr lang="ru-RU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3" name="Прямоугольник 32"/>
          <p:cNvSpPr/>
          <p:nvPr/>
        </p:nvSpPr>
        <p:spPr>
          <a:xfrm>
            <a:off x="7502615" y="2819104"/>
            <a:ext cx="4529569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Задание 1</a:t>
            </a:r>
          </a:p>
          <a:p>
            <a:r>
              <a:rPr lang="ru-RU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колько рублей увеличится вложенная сумма, если Аня и её </a:t>
            </a:r>
            <a:r>
              <a:rPr lang="ru-RU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стра откроют </a:t>
            </a:r>
            <a:r>
              <a:rPr lang="ru-RU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ьный вклад на один год в банке «Пегас»? </a:t>
            </a:r>
            <a:r>
              <a:rPr lang="ru-RU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ерите один </a:t>
            </a:r>
            <a:r>
              <a:rPr lang="ru-RU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ьный ответ.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8213366" y="4573430"/>
            <a:ext cx="285306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1 000 рублей</a:t>
            </a:r>
          </a:p>
          <a:p>
            <a:r>
              <a:rPr lang="ru-RU" sz="20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800 рублей</a:t>
            </a:r>
          </a:p>
          <a:p>
            <a:r>
              <a:rPr lang="ru-RU" sz="20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) 10 000 рублей</a:t>
            </a:r>
          </a:p>
          <a:p>
            <a:r>
              <a:rPr lang="ru-RU" sz="20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) 11 000 рублей</a:t>
            </a:r>
          </a:p>
        </p:txBody>
      </p:sp>
    </p:spTree>
    <p:extLst>
      <p:ext uri="{BB962C8B-B14F-4D97-AF65-F5344CB8AC3E}">
        <p14:creationId xmlns:p14="http://schemas.microsoft.com/office/powerpoint/2010/main" val="2840005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003053" y="137532"/>
            <a:ext cx="372236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PISA – не PISA – почти PISA</a:t>
            </a:r>
            <a:endParaRPr lang="ru-RU" sz="2400" dirty="0"/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165" y="1283957"/>
            <a:ext cx="10191750" cy="155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684" name="Picture 4" descr="Рыжий кот пазлы &quot;Домик у пруда&quot; 1000 элементов — купить в интернет-магазине  OZON с быстрой доставкой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525" y="3050536"/>
            <a:ext cx="3581119" cy="2370701"/>
          </a:xfrm>
          <a:prstGeom prst="rect">
            <a:avLst/>
          </a:prstGeom>
          <a:noFill/>
          <a:ln>
            <a:noFill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6" name="Picture 6" descr="Пазлы Животные в номере, 1000 элементов, цена 293 грн., купить в Запорожье  — Prom.ua (ID#1010131463)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31" t="3689" r="7860" b="4276"/>
          <a:stretch/>
        </p:blipFill>
        <p:spPr bwMode="auto">
          <a:xfrm>
            <a:off x="1509657" y="3050536"/>
            <a:ext cx="3605268" cy="2589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1289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003053" y="137532"/>
            <a:ext cx="372236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PISA – не PISA – почти PISA</a:t>
            </a:r>
            <a:endParaRPr lang="ru-RU" sz="24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75029" y="752549"/>
            <a:ext cx="1185791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История волонтёрского движения в нашей стране ведёт свой </a:t>
            </a:r>
            <a:r>
              <a:rPr lang="ru-RU" dirty="0" smtClean="0"/>
              <a:t>отсчёт с </a:t>
            </a:r>
            <a:r>
              <a:rPr lang="ru-RU" dirty="0"/>
              <a:t>1995 года, когда состоялся первый Российский форум добровольцев</a:t>
            </a:r>
            <a:r>
              <a:rPr lang="ru-RU" dirty="0" smtClean="0"/>
              <a:t>. Волонтёрство </a:t>
            </a:r>
            <a:r>
              <a:rPr lang="ru-RU" dirty="0"/>
              <a:t>— это оказание добровольной и бескорыстной </a:t>
            </a:r>
            <a:r>
              <a:rPr lang="ru-RU" dirty="0" smtClean="0"/>
              <a:t>помощи тем</a:t>
            </a:r>
            <a:r>
              <a:rPr lang="ru-RU" dirty="0"/>
              <a:t>, кто в ней нуждается. В основе волонтёрского движения </a:t>
            </a:r>
            <a:r>
              <a:rPr lang="ru-RU" dirty="0" smtClean="0"/>
              <a:t>лежит простой </a:t>
            </a:r>
            <a:r>
              <a:rPr lang="ru-RU" dirty="0"/>
              <a:t>принцип: хочешь почувствовать себя человеком — помоги</a:t>
            </a:r>
          </a:p>
          <a:p>
            <a:r>
              <a:rPr lang="ru-RU" dirty="0"/>
              <a:t>другому. За прошедшие годы на информационной платформе «</a:t>
            </a:r>
            <a:r>
              <a:rPr lang="ru-RU" dirty="0" smtClean="0"/>
              <a:t>Добровольцы </a:t>
            </a:r>
            <a:r>
              <a:rPr lang="ru-RU" dirty="0"/>
              <a:t>России» зарегистрировано более 1,5 тыс. добровольческих </a:t>
            </a:r>
            <a:r>
              <a:rPr lang="ru-RU" dirty="0" smtClean="0"/>
              <a:t>организаций </a:t>
            </a:r>
            <a:r>
              <a:rPr lang="ru-RU" dirty="0"/>
              <a:t>и более 31,4 тыс. волонтёров. Большая часть из них — </a:t>
            </a:r>
            <a:r>
              <a:rPr lang="ru-RU" dirty="0" smtClean="0"/>
              <a:t>молодёжь </a:t>
            </a:r>
            <a:r>
              <a:rPr lang="ru-RU" dirty="0"/>
              <a:t>в возрасте младше 17 лет (23%) и от 18 до 24 лет (58%). </a:t>
            </a:r>
            <a:r>
              <a:rPr lang="ru-RU" dirty="0" smtClean="0"/>
              <a:t>Волонтёрские </a:t>
            </a:r>
            <a:r>
              <a:rPr lang="ru-RU" dirty="0"/>
              <a:t>организации активно взаимодействуют друг с другом.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37985" y="2608251"/>
            <a:ext cx="572842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</a:rPr>
              <a:t>Вопрос 1</a:t>
            </a:r>
          </a:p>
          <a:p>
            <a:r>
              <a:rPr lang="ru-RU" sz="1600" dirty="0"/>
              <a:t>Для руководителей волонтёрского движения из разных </a:t>
            </a:r>
            <a:r>
              <a:rPr lang="ru-RU" sz="1600" dirty="0" smtClean="0"/>
              <a:t>городов России </a:t>
            </a:r>
            <a:r>
              <a:rPr lang="ru-RU" sz="1600" dirty="0"/>
              <a:t>решено провести вебинар. Часовые пояса разных </a:t>
            </a:r>
            <a:r>
              <a:rPr lang="ru-RU" sz="1600" dirty="0" smtClean="0"/>
              <a:t>городов России </a:t>
            </a:r>
            <a:r>
              <a:rPr lang="ru-RU" sz="1600" dirty="0"/>
              <a:t>представлены на </a:t>
            </a:r>
            <a:r>
              <a:rPr lang="ru-RU" sz="1600" dirty="0" smtClean="0"/>
              <a:t>рисунке. </a:t>
            </a:r>
            <a:r>
              <a:rPr lang="ru-RU" sz="1600" dirty="0"/>
              <a:t>Найдите разницу во </a:t>
            </a:r>
            <a:r>
              <a:rPr lang="ru-RU" sz="1600" dirty="0" smtClean="0"/>
              <a:t>времени между </a:t>
            </a:r>
            <a:r>
              <a:rPr lang="ru-RU" sz="1600" dirty="0"/>
              <a:t>самым западным и самым восточным городами России.</a:t>
            </a:r>
          </a:p>
        </p:txBody>
      </p:sp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3985" y="2608251"/>
            <a:ext cx="6076269" cy="3516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Прямоугольник 25"/>
          <p:cNvSpPr/>
          <p:nvPr/>
        </p:nvSpPr>
        <p:spPr>
          <a:xfrm>
            <a:off x="196094" y="4366272"/>
            <a:ext cx="561220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</a:rPr>
              <a:t>Вопрос </a:t>
            </a:r>
            <a:r>
              <a:rPr lang="ru-RU" sz="1600" b="1" dirty="0" smtClean="0">
                <a:solidFill>
                  <a:srgbClr val="002060"/>
                </a:solidFill>
              </a:rPr>
              <a:t>2</a:t>
            </a:r>
            <a:endParaRPr lang="ru-RU" sz="1600" b="1" dirty="0">
              <a:solidFill>
                <a:srgbClr val="002060"/>
              </a:solidFill>
            </a:endParaRPr>
          </a:p>
          <a:p>
            <a:r>
              <a:rPr lang="ru-RU" sz="1600" dirty="0"/>
              <a:t>На какое время по Москве необходимо назначить начало </a:t>
            </a:r>
            <a:r>
              <a:rPr lang="ru-RU" sz="1600" dirty="0" err="1" smtClean="0"/>
              <a:t>вебинара</a:t>
            </a:r>
            <a:r>
              <a:rPr lang="ru-RU" sz="1600" dirty="0"/>
              <a:t>, чтобы в нём приняли участие руководители </a:t>
            </a:r>
            <a:r>
              <a:rPr lang="ru-RU" sz="1600" dirty="0" smtClean="0"/>
              <a:t>волонтёрского</a:t>
            </a:r>
            <a:r>
              <a:rPr lang="ru-RU" sz="1600" dirty="0"/>
              <a:t> движения из городов всех часовых поясов России, если </a:t>
            </a:r>
            <a:r>
              <a:rPr lang="ru-RU" sz="1600" dirty="0" err="1"/>
              <a:t>вебинар</a:t>
            </a:r>
            <a:r>
              <a:rPr lang="ru-RU" sz="1600" dirty="0"/>
              <a:t> </a:t>
            </a:r>
            <a:r>
              <a:rPr lang="ru-RU" sz="1600" dirty="0" smtClean="0"/>
              <a:t>не может </a:t>
            </a:r>
            <a:r>
              <a:rPr lang="ru-RU" sz="1600" dirty="0"/>
              <a:t>начинаться ранее 9:00 и позже 19:00 по местному времени?</a:t>
            </a:r>
          </a:p>
        </p:txBody>
      </p:sp>
    </p:spTree>
    <p:extLst>
      <p:ext uri="{BB962C8B-B14F-4D97-AF65-F5344CB8AC3E}">
        <p14:creationId xmlns:p14="http://schemas.microsoft.com/office/powerpoint/2010/main" val="122701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240</TotalTime>
  <Words>6514</Words>
  <Application>Microsoft Office PowerPoint</Application>
  <PresentationFormat>Широкоэкранный</PresentationFormat>
  <Paragraphs>684</Paragraphs>
  <Slides>65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5</vt:i4>
      </vt:variant>
    </vt:vector>
  </HeadingPairs>
  <TitlesOfParts>
    <vt:vector size="77" baseType="lpstr">
      <vt:lpstr>Arial</vt:lpstr>
      <vt:lpstr>Calibri</vt:lpstr>
      <vt:lpstr>Calibri Light</vt:lpstr>
      <vt:lpstr>Cambria Math</vt:lpstr>
      <vt:lpstr>Franklin Gothic Book</vt:lpstr>
      <vt:lpstr>Lato</vt:lpstr>
      <vt:lpstr>Open Sans</vt:lpstr>
      <vt:lpstr>Open Sans Condensed</vt:lpstr>
      <vt:lpstr>Open Sans Condensed Light</vt:lpstr>
      <vt:lpstr>Open Sans Light</vt:lpstr>
      <vt:lpstr>Тема Office</vt:lpstr>
      <vt:lpstr>Слайд think-cell</vt:lpstr>
      <vt:lpstr>Презентация PowerPoint</vt:lpstr>
      <vt:lpstr>Презентация PowerPoint</vt:lpstr>
      <vt:lpstr>Модель математической грамотности. PISA</vt:lpstr>
      <vt:lpstr>Контексты/ ситу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ркетинг</dc:creator>
  <cp:lastModifiedBy>Каташук Валентина Николаевна</cp:lastModifiedBy>
  <cp:revision>557</cp:revision>
  <dcterms:created xsi:type="dcterms:W3CDTF">2020-02-25T09:30:21Z</dcterms:created>
  <dcterms:modified xsi:type="dcterms:W3CDTF">2021-04-28T09:00:37Z</dcterms:modified>
</cp:coreProperties>
</file>